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57" r:id="rId6"/>
    <p:sldId id="274" r:id="rId7"/>
    <p:sldId id="258" r:id="rId8"/>
    <p:sldId id="259" r:id="rId9"/>
    <p:sldId id="283" r:id="rId10"/>
    <p:sldId id="261" r:id="rId11"/>
    <p:sldId id="260" r:id="rId12"/>
    <p:sldId id="275" r:id="rId13"/>
    <p:sldId id="276" r:id="rId14"/>
    <p:sldId id="277" r:id="rId15"/>
    <p:sldId id="278" r:id="rId16"/>
    <p:sldId id="279" r:id="rId17"/>
    <p:sldId id="280" r:id="rId18"/>
    <p:sldId id="281" r:id="rId19"/>
    <p:sldId id="282" r:id="rId20"/>
    <p:sldId id="262" r:id="rId21"/>
    <p:sldId id="292" r:id="rId22"/>
    <p:sldId id="263" r:id="rId23"/>
    <p:sldId id="264" r:id="rId24"/>
    <p:sldId id="284" r:id="rId25"/>
    <p:sldId id="285" r:id="rId26"/>
    <p:sldId id="286" r:id="rId27"/>
    <p:sldId id="287" r:id="rId28"/>
    <p:sldId id="288" r:id="rId29"/>
    <p:sldId id="289" r:id="rId30"/>
    <p:sldId id="290" r:id="rId31"/>
    <p:sldId id="291" r:id="rId32"/>
    <p:sldId id="265" r:id="rId33"/>
    <p:sldId id="293" r:id="rId34"/>
    <p:sldId id="294" r:id="rId35"/>
    <p:sldId id="271" r:id="rId36"/>
    <p:sldId id="307" r:id="rId37"/>
    <p:sldId id="266" r:id="rId38"/>
    <p:sldId id="295" r:id="rId39"/>
    <p:sldId id="267" r:id="rId40"/>
    <p:sldId id="296" r:id="rId41"/>
    <p:sldId id="297" r:id="rId42"/>
    <p:sldId id="298" r:id="rId43"/>
    <p:sldId id="299" r:id="rId44"/>
    <p:sldId id="268" r:id="rId45"/>
    <p:sldId id="300" r:id="rId46"/>
    <p:sldId id="301" r:id="rId47"/>
    <p:sldId id="302" r:id="rId48"/>
    <p:sldId id="269" r:id="rId49"/>
    <p:sldId id="303" r:id="rId50"/>
    <p:sldId id="270" r:id="rId51"/>
    <p:sldId id="304" r:id="rId52"/>
    <p:sldId id="305" r:id="rId53"/>
    <p:sldId id="306" r:id="rId54"/>
    <p:sldId id="273" r:id="rId55"/>
    <p:sldId id="312" r:id="rId56"/>
    <p:sldId id="272" r:id="rId57"/>
    <p:sldId id="308" r:id="rId58"/>
    <p:sldId id="309" r:id="rId59"/>
    <p:sldId id="310" r:id="rId60"/>
    <p:sldId id="311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6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smccd-my.sharepoint.com/personal/claxtona_smccd_edu/Documents/Participatory%20gov/Participatory%20Governance%20survey%2020-21/Ca&#241;ada%20College%20Participatory%20Governance%20Evaluation%20Survey%202021_March%2030,%202021_15.43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Count by Constituency Grou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ofPieChart>
        <c:ofPieType val="pie"/>
        <c:varyColors val="1"/>
        <c:ser>
          <c:idx val="0"/>
          <c:order val="0"/>
          <c:tx>
            <c:strRef>
              <c:f>'sentiment pivot'!$M$2</c:f>
              <c:strCache>
                <c:ptCount val="1"/>
                <c:pt idx="0">
                  <c:v>Cou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33-49C3-BC83-A7692B44576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33-49C3-BC83-A7692B44576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333-49C3-BC83-A7692B44576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333-49C3-BC83-A7692B44576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333-49C3-BC83-A7692B445764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333-49C3-BC83-A7692B445764}"/>
              </c:ext>
            </c:extLst>
          </c:dPt>
          <c:dLbls>
            <c:dLbl>
              <c:idx val="0"/>
              <c:layout>
                <c:manualLayout>
                  <c:x val="-4.2205865571151432E-3"/>
                  <c:y val="-1.7596886291067254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33-49C3-BC83-A7692B445764}"/>
                </c:ext>
              </c:extLst>
            </c:dLbl>
            <c:dLbl>
              <c:idx val="1"/>
              <c:layout>
                <c:manualLayout>
                  <c:x val="2.4190726159230096E-3"/>
                  <c:y val="-1.781222235551455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33-49C3-BC83-A7692B445764}"/>
                </c:ext>
              </c:extLst>
            </c:dLbl>
            <c:dLbl>
              <c:idx val="2"/>
              <c:layout>
                <c:manualLayout>
                  <c:x val="-3.4609057020046408E-3"/>
                  <c:y val="3.78274452593661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33-49C3-BC83-A7692B445764}"/>
                </c:ext>
              </c:extLst>
            </c:dLbl>
            <c:dLbl>
              <c:idx val="3"/>
              <c:layout>
                <c:manualLayout>
                  <c:x val="4.7941249191677131E-2"/>
                  <c:y val="-0.1330838928164164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333-49C3-BC83-A7692B445764}"/>
                </c:ext>
              </c:extLst>
            </c:dLbl>
            <c:dLbl>
              <c:idx val="4"/>
              <c:layout>
                <c:manualLayout>
                  <c:x val="-3.2398531705275973E-3"/>
                  <c:y val="-7.5806568002761447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333-49C3-BC83-A7692B445764}"/>
                </c:ext>
              </c:extLst>
            </c:dLbl>
            <c:dLbl>
              <c:idx val="5"/>
              <c:layout>
                <c:manualLayout>
                  <c:x val="1.5441819772528435E-3"/>
                  <c:y val="-1.7796709885557042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Faculty</a:t>
                    </a:r>
                    <a:r>
                      <a:rPr lang="en-US" baseline="0" dirty="0"/>
                      <a:t>, </a:t>
                    </a:r>
                    <a:fld id="{FAD4F0D5-802B-433C-8886-E8F2C98B49EF}" type="VALUE">
                      <a:rPr lang="en-US" baseline="0" dirty="0"/>
                      <a:pPr/>
                      <a:t>[VALU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791062801932368"/>
                      <c:h val="6.575701542835787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1333-49C3-BC83-A7692B445764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entiment pivot'!$L$3:$L$7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Student</c:v>
                </c:pt>
                <c:pt idx="3">
                  <c:v>Faculty (full time)</c:v>
                </c:pt>
                <c:pt idx="4">
                  <c:v>Faculty (part time)</c:v>
                </c:pt>
              </c:strCache>
            </c:strRef>
          </c:cat>
          <c:val>
            <c:numRef>
              <c:f>'sentiment pivot'!$M$3:$M$7</c:f>
              <c:numCache>
                <c:formatCode>General</c:formatCode>
                <c:ptCount val="5"/>
                <c:pt idx="0">
                  <c:v>3</c:v>
                </c:pt>
                <c:pt idx="1">
                  <c:v>18</c:v>
                </c:pt>
                <c:pt idx="2">
                  <c:v>36</c:v>
                </c:pt>
                <c:pt idx="3">
                  <c:v>21</c:v>
                </c:pt>
                <c:pt idx="4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333-49C3-BC83-A7692B445764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7</c:f>
              <c:strCache>
                <c:ptCount val="1"/>
                <c:pt idx="0">
                  <c:v>Information on Academic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7:$T$7</c:f>
              <c:numCache>
                <c:formatCode>General</c:formatCode>
                <c:ptCount val="6"/>
                <c:pt idx="0">
                  <c:v>36</c:v>
                </c:pt>
                <c:pt idx="1">
                  <c:v>12</c:v>
                </c:pt>
                <c:pt idx="2">
                  <c:v>23</c:v>
                </c:pt>
                <c:pt idx="3">
                  <c:v>7</c:v>
                </c:pt>
                <c:pt idx="4">
                  <c:v>3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2D-428B-A631-6B343D9E6E5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8</c:f>
              <c:strCache>
                <c:ptCount val="1"/>
                <c:pt idx="0">
                  <c:v>Information on Classified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8:$T$8</c:f>
              <c:numCache>
                <c:formatCode>General</c:formatCode>
                <c:ptCount val="6"/>
                <c:pt idx="0">
                  <c:v>20</c:v>
                </c:pt>
                <c:pt idx="1">
                  <c:v>16</c:v>
                </c:pt>
                <c:pt idx="2">
                  <c:v>32</c:v>
                </c:pt>
                <c:pt idx="3">
                  <c:v>6</c:v>
                </c:pt>
                <c:pt idx="4">
                  <c:v>4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10-410A-8837-2388A6ACEDC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9</c:f>
              <c:strCache>
                <c:ptCount val="1"/>
                <c:pt idx="0">
                  <c:v>Information on GP Steer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9:$T$9</c:f>
              <c:numCache>
                <c:formatCode>General</c:formatCode>
                <c:ptCount val="6"/>
                <c:pt idx="0">
                  <c:v>21</c:v>
                </c:pt>
                <c:pt idx="1">
                  <c:v>11</c:v>
                </c:pt>
                <c:pt idx="2">
                  <c:v>31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74-4A2F-B971-4021A1A906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0</c:f>
              <c:strCache>
                <c:ptCount val="1"/>
                <c:pt idx="0">
                  <c:v>Information on College committe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0:$T$10</c:f>
              <c:numCache>
                <c:formatCode>General</c:formatCode>
                <c:ptCount val="6"/>
                <c:pt idx="0">
                  <c:v>13</c:v>
                </c:pt>
                <c:pt idx="1">
                  <c:v>3</c:v>
                </c:pt>
                <c:pt idx="2">
                  <c:v>21</c:v>
                </c:pt>
                <c:pt idx="3">
                  <c:v>5</c:v>
                </c:pt>
                <c:pt idx="4">
                  <c:v>4</c:v>
                </c:pt>
                <c:pt idx="5">
                  <c:v>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87-41EB-855A-43F3D171D7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2</c:f>
              <c:strCache>
                <c:ptCount val="1"/>
                <c:pt idx="0">
                  <c:v>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2:$P$22</c:f>
              <c:numCache>
                <c:formatCode>0.0</c:formatCode>
                <c:ptCount val="5"/>
                <c:pt idx="0">
                  <c:v>4.333333333333333</c:v>
                </c:pt>
                <c:pt idx="1">
                  <c:v>3.6113445378151261</c:v>
                </c:pt>
                <c:pt idx="2">
                  <c:v>3.9295112781954882</c:v>
                </c:pt>
                <c:pt idx="3">
                  <c:v>3.78968253968254</c:v>
                </c:pt>
                <c:pt idx="4">
                  <c:v>3.67162698412698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C1-4DC6-8A56-4B18C3EA65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076511"/>
        <c:axId val="2013439199"/>
      </c:barChart>
      <c:catAx>
        <c:axId val="2007076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39199"/>
        <c:crosses val="autoZero"/>
        <c:auto val="1"/>
        <c:lblAlgn val="ctr"/>
        <c:lblOffset val="100"/>
        <c:noMultiLvlLbl val="0"/>
      </c:catAx>
      <c:valAx>
        <c:axId val="201343919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0765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2</c:f>
              <c:strCache>
                <c:ptCount val="1"/>
                <c:pt idx="0">
                  <c:v>Recording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2:$T$22</c:f>
              <c:numCache>
                <c:formatCode>General</c:formatCode>
                <c:ptCount val="6"/>
                <c:pt idx="0">
                  <c:v>195</c:v>
                </c:pt>
                <c:pt idx="1">
                  <c:v>76</c:v>
                </c:pt>
                <c:pt idx="2">
                  <c:v>238</c:v>
                </c:pt>
                <c:pt idx="3">
                  <c:v>46</c:v>
                </c:pt>
                <c:pt idx="4">
                  <c:v>22</c:v>
                </c:pt>
                <c:pt idx="5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B2-4401-B964-8266D810AB7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L$13</c:f>
              <c:strCache>
                <c:ptCount val="1"/>
                <c:pt idx="0">
                  <c:v>Administrato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L$14:$L$21</c:f>
              <c:numCache>
                <c:formatCode>0.0</c:formatCode>
                <c:ptCount val="8"/>
                <c:pt idx="0">
                  <c:v>4.666666666666667</c:v>
                </c:pt>
                <c:pt idx="1">
                  <c:v>4.5</c:v>
                </c:pt>
                <c:pt idx="2">
                  <c:v>4</c:v>
                </c:pt>
                <c:pt idx="3">
                  <c:v>4.5</c:v>
                </c:pt>
                <c:pt idx="4">
                  <c:v>3.5</c:v>
                </c:pt>
                <c:pt idx="5">
                  <c:v>3.5</c:v>
                </c:pt>
                <c:pt idx="6">
                  <c:v>4.666666666666667</c:v>
                </c:pt>
                <c:pt idx="7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81-4945-9027-112D47228720}"/>
            </c:ext>
          </c:extLst>
        </c:ser>
        <c:ser>
          <c:idx val="1"/>
          <c:order val="1"/>
          <c:tx>
            <c:strRef>
              <c:f>'Numeric pivot'!$M$13</c:f>
              <c:strCache>
                <c:ptCount val="1"/>
                <c:pt idx="0">
                  <c:v>Classified Staff or Manager/Supervis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M$14:$M$21</c:f>
              <c:numCache>
                <c:formatCode>0.0</c:formatCode>
                <c:ptCount val="8"/>
                <c:pt idx="0">
                  <c:v>3.4375</c:v>
                </c:pt>
                <c:pt idx="1">
                  <c:v>3.6153846153846154</c:v>
                </c:pt>
                <c:pt idx="2">
                  <c:v>3.5333333333333332</c:v>
                </c:pt>
                <c:pt idx="3">
                  <c:v>3.4285714285714284</c:v>
                </c:pt>
                <c:pt idx="4">
                  <c:v>3.4285714285714284</c:v>
                </c:pt>
                <c:pt idx="5">
                  <c:v>3.6875</c:v>
                </c:pt>
                <c:pt idx="6">
                  <c:v>3.5</c:v>
                </c:pt>
                <c:pt idx="7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81-4945-9027-112D47228720}"/>
            </c:ext>
          </c:extLst>
        </c:ser>
        <c:ser>
          <c:idx val="2"/>
          <c:order val="2"/>
          <c:tx>
            <c:strRef>
              <c:f>'Numeric pivot'!$N$13</c:f>
              <c:strCache>
                <c:ptCount val="1"/>
                <c:pt idx="0">
                  <c:v>Faculty (full time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N$14:$N$21</c:f>
              <c:numCache>
                <c:formatCode>0.0</c:formatCode>
                <c:ptCount val="8"/>
                <c:pt idx="0">
                  <c:v>4.2222222222222223</c:v>
                </c:pt>
                <c:pt idx="1">
                  <c:v>3.7058823529411766</c:v>
                </c:pt>
                <c:pt idx="2">
                  <c:v>3.875</c:v>
                </c:pt>
                <c:pt idx="3">
                  <c:v>3.6666666666666665</c:v>
                </c:pt>
                <c:pt idx="4">
                  <c:v>4.117647058823529</c:v>
                </c:pt>
                <c:pt idx="5">
                  <c:v>3.6666666666666665</c:v>
                </c:pt>
                <c:pt idx="6">
                  <c:v>3.75</c:v>
                </c:pt>
                <c:pt idx="7">
                  <c:v>3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81-4945-9027-112D47228720}"/>
            </c:ext>
          </c:extLst>
        </c:ser>
        <c:ser>
          <c:idx val="3"/>
          <c:order val="3"/>
          <c:tx>
            <c:strRef>
              <c:f>'Numeric pivot'!$O$13</c:f>
              <c:strCache>
                <c:ptCount val="1"/>
                <c:pt idx="0">
                  <c:v>Faculty (part time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O$14:$O$21</c:f>
              <c:numCache>
                <c:formatCode>0.0</c:formatCode>
                <c:ptCount val="8"/>
                <c:pt idx="0">
                  <c:v>4</c:v>
                </c:pt>
                <c:pt idx="1">
                  <c:v>3.25</c:v>
                </c:pt>
                <c:pt idx="2">
                  <c:v>4</c:v>
                </c:pt>
                <c:pt idx="3">
                  <c:v>3.5</c:v>
                </c:pt>
                <c:pt idx="4">
                  <c:v>4.125</c:v>
                </c:pt>
                <c:pt idx="5">
                  <c:v>3.5</c:v>
                </c:pt>
                <c:pt idx="6">
                  <c:v>3.25</c:v>
                </c:pt>
                <c:pt idx="7">
                  <c:v>3.6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81-4945-9027-112D47228720}"/>
            </c:ext>
          </c:extLst>
        </c:ser>
        <c:ser>
          <c:idx val="4"/>
          <c:order val="4"/>
          <c:tx>
            <c:strRef>
              <c:f>'Numeric pivot'!$P$13</c:f>
              <c:strCache>
                <c:ptCount val="1"/>
                <c:pt idx="0">
                  <c:v>Studen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K$14:$K$21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P$14:$P$21</c:f>
              <c:numCache>
                <c:formatCode>0.0</c:formatCode>
                <c:ptCount val="8"/>
                <c:pt idx="0">
                  <c:v>3.5714285714285716</c:v>
                </c:pt>
                <c:pt idx="1">
                  <c:v>3.8055555555555554</c:v>
                </c:pt>
                <c:pt idx="2">
                  <c:v>3.5882352941176472</c:v>
                </c:pt>
                <c:pt idx="3">
                  <c:v>3.6176470588235294</c:v>
                </c:pt>
                <c:pt idx="4">
                  <c:v>3.5454545454545454</c:v>
                </c:pt>
                <c:pt idx="5">
                  <c:v>3.4848484848484849</c:v>
                </c:pt>
                <c:pt idx="6">
                  <c:v>3.4848484848484849</c:v>
                </c:pt>
                <c:pt idx="7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D81-4945-9027-112D47228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764383"/>
        <c:axId val="1955463007"/>
      </c:barChart>
      <c:catAx>
        <c:axId val="1991764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463007"/>
        <c:crosses val="autoZero"/>
        <c:auto val="1"/>
        <c:lblAlgn val="ctr"/>
        <c:lblOffset val="100"/>
        <c:noMultiLvlLbl val="0"/>
      </c:catAx>
      <c:valAx>
        <c:axId val="195546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764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14</c:f>
              <c:strCache>
                <c:ptCount val="1"/>
                <c:pt idx="0">
                  <c:v>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4:$P$14</c:f>
              <c:numCache>
                <c:formatCode>0.0</c:formatCode>
                <c:ptCount val="5"/>
                <c:pt idx="0">
                  <c:v>4.666666666666667</c:v>
                </c:pt>
                <c:pt idx="1">
                  <c:v>3.4375</c:v>
                </c:pt>
                <c:pt idx="2">
                  <c:v>4.2222222222222223</c:v>
                </c:pt>
                <c:pt idx="3">
                  <c:v>4</c:v>
                </c:pt>
                <c:pt idx="4">
                  <c:v>3.57142857142857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20-4455-99BA-C24218E3268D}"/>
            </c:ext>
          </c:extLst>
        </c:ser>
        <c:ser>
          <c:idx val="1"/>
          <c:order val="1"/>
          <c:tx>
            <c:strRef>
              <c:f>'Numeric pivot'!$K$15</c:f>
              <c:strCache>
                <c:ptCount val="1"/>
                <c:pt idx="0">
                  <c:v>AS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5:$P$15</c:f>
              <c:numCache>
                <c:formatCode>0.0</c:formatCode>
                <c:ptCount val="5"/>
                <c:pt idx="0">
                  <c:v>4.5</c:v>
                </c:pt>
                <c:pt idx="1">
                  <c:v>3.6153846153846154</c:v>
                </c:pt>
                <c:pt idx="2">
                  <c:v>3.7058823529411766</c:v>
                </c:pt>
                <c:pt idx="3">
                  <c:v>3.25</c:v>
                </c:pt>
                <c:pt idx="4">
                  <c:v>3.80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20-4455-99BA-C24218E3268D}"/>
            </c:ext>
          </c:extLst>
        </c:ser>
        <c:ser>
          <c:idx val="2"/>
          <c:order val="2"/>
          <c:tx>
            <c:strRef>
              <c:f>'Numeric pivot'!$K$16</c:f>
              <c:strCache>
                <c:ptCount val="1"/>
                <c:pt idx="0">
                  <c:v>IP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6:$P$16</c:f>
              <c:numCache>
                <c:formatCode>0.0</c:formatCode>
                <c:ptCount val="5"/>
                <c:pt idx="0">
                  <c:v>4</c:v>
                </c:pt>
                <c:pt idx="1">
                  <c:v>3.5333333333333332</c:v>
                </c:pt>
                <c:pt idx="2">
                  <c:v>3.875</c:v>
                </c:pt>
                <c:pt idx="3">
                  <c:v>4</c:v>
                </c:pt>
                <c:pt idx="4">
                  <c:v>3.5882352941176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120-4455-99BA-C24218E3268D}"/>
            </c:ext>
          </c:extLst>
        </c:ser>
        <c:ser>
          <c:idx val="3"/>
          <c:order val="3"/>
          <c:tx>
            <c:strRef>
              <c:f>'Numeric pivot'!$K$17</c:f>
              <c:strCache>
                <c:ptCount val="1"/>
                <c:pt idx="0">
                  <c:v>SS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7:$P$17</c:f>
              <c:numCache>
                <c:formatCode>0.0</c:formatCode>
                <c:ptCount val="5"/>
                <c:pt idx="0">
                  <c:v>4.5</c:v>
                </c:pt>
                <c:pt idx="1">
                  <c:v>3.4285714285714284</c:v>
                </c:pt>
                <c:pt idx="2">
                  <c:v>3.6666666666666665</c:v>
                </c:pt>
                <c:pt idx="3">
                  <c:v>3.5</c:v>
                </c:pt>
                <c:pt idx="4">
                  <c:v>3.6176470588235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20-4455-99BA-C24218E3268D}"/>
            </c:ext>
          </c:extLst>
        </c:ser>
        <c:ser>
          <c:idx val="4"/>
          <c:order val="4"/>
          <c:tx>
            <c:strRef>
              <c:f>'Numeric pivot'!$K$18</c:f>
              <c:strCache>
                <c:ptCount val="1"/>
                <c:pt idx="0">
                  <c:v>Academic Senat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8:$P$18</c:f>
              <c:numCache>
                <c:formatCode>0.0</c:formatCode>
                <c:ptCount val="5"/>
                <c:pt idx="0">
                  <c:v>3.5</c:v>
                </c:pt>
                <c:pt idx="1">
                  <c:v>3.4285714285714284</c:v>
                </c:pt>
                <c:pt idx="2">
                  <c:v>4.117647058823529</c:v>
                </c:pt>
                <c:pt idx="3">
                  <c:v>4.125</c:v>
                </c:pt>
                <c:pt idx="4">
                  <c:v>3.5454545454545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20-4455-99BA-C24218E3268D}"/>
            </c:ext>
          </c:extLst>
        </c:ser>
        <c:ser>
          <c:idx val="5"/>
          <c:order val="5"/>
          <c:tx>
            <c:strRef>
              <c:f>'Numeric pivot'!$K$19</c:f>
              <c:strCache>
                <c:ptCount val="1"/>
                <c:pt idx="0">
                  <c:v>Classified Senat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9:$P$19</c:f>
              <c:numCache>
                <c:formatCode>0.0</c:formatCode>
                <c:ptCount val="5"/>
                <c:pt idx="0">
                  <c:v>3.5</c:v>
                </c:pt>
                <c:pt idx="1">
                  <c:v>3.6875</c:v>
                </c:pt>
                <c:pt idx="2">
                  <c:v>3.6666666666666665</c:v>
                </c:pt>
                <c:pt idx="3">
                  <c:v>3.5</c:v>
                </c:pt>
                <c:pt idx="4">
                  <c:v>3.4848484848484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120-4455-99BA-C24218E3268D}"/>
            </c:ext>
          </c:extLst>
        </c:ser>
        <c:ser>
          <c:idx val="6"/>
          <c:order val="6"/>
          <c:tx>
            <c:strRef>
              <c:f>'Numeric pivot'!$K$20</c:f>
              <c:strCache>
                <c:ptCount val="1"/>
                <c:pt idx="0">
                  <c:v>GP Steering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0:$P$20</c:f>
              <c:numCache>
                <c:formatCode>0.0</c:formatCode>
                <c:ptCount val="5"/>
                <c:pt idx="0">
                  <c:v>4.666666666666667</c:v>
                </c:pt>
                <c:pt idx="1">
                  <c:v>3.5</c:v>
                </c:pt>
                <c:pt idx="2">
                  <c:v>3.75</c:v>
                </c:pt>
                <c:pt idx="3">
                  <c:v>3.25</c:v>
                </c:pt>
                <c:pt idx="4">
                  <c:v>3.48484848484848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120-4455-99BA-C24218E3268D}"/>
            </c:ext>
          </c:extLst>
        </c:ser>
        <c:ser>
          <c:idx val="7"/>
          <c:order val="7"/>
          <c:tx>
            <c:strRef>
              <c:f>'Numeric pivot'!$K$21</c:f>
              <c:strCache>
                <c:ptCount val="1"/>
                <c:pt idx="0">
                  <c:v>College committee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3:$P$1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1:$P$21</c:f>
              <c:numCache>
                <c:formatCode>0.0</c:formatCode>
                <c:ptCount val="5"/>
                <c:pt idx="0">
                  <c:v>3.5</c:v>
                </c:pt>
                <c:pt idx="1">
                  <c:v>3.2</c:v>
                </c:pt>
                <c:pt idx="2">
                  <c:v>3.75</c:v>
                </c:pt>
                <c:pt idx="3">
                  <c:v>3.6666666666666665</c:v>
                </c:pt>
                <c:pt idx="4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120-4455-99BA-C24218E32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1764383"/>
        <c:axId val="1955463007"/>
      </c:barChart>
      <c:catAx>
        <c:axId val="199176438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463007"/>
        <c:crosses val="autoZero"/>
        <c:auto val="1"/>
        <c:lblAlgn val="ctr"/>
        <c:lblOffset val="100"/>
        <c:noMultiLvlLbl val="0"/>
      </c:catAx>
      <c:valAx>
        <c:axId val="195546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17643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4</c:f>
              <c:strCache>
                <c:ptCount val="1"/>
                <c:pt idx="0">
                  <c:v>Recording during 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4:$T$14</c:f>
              <c:numCache>
                <c:formatCode>General</c:formatCode>
                <c:ptCount val="6"/>
                <c:pt idx="0">
                  <c:v>30</c:v>
                </c:pt>
                <c:pt idx="1">
                  <c:v>14</c:v>
                </c:pt>
                <c:pt idx="2">
                  <c:v>26</c:v>
                </c:pt>
                <c:pt idx="3">
                  <c:v>8</c:v>
                </c:pt>
                <c:pt idx="4">
                  <c:v>2</c:v>
                </c:pt>
                <c:pt idx="5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4B-42D7-8CFE-B6D1DAD2731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5</c:f>
              <c:strCache>
                <c:ptCount val="1"/>
                <c:pt idx="0">
                  <c:v>Recording during ASC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5:$T$15</c:f>
              <c:numCache>
                <c:formatCode>General</c:formatCode>
                <c:ptCount val="6"/>
                <c:pt idx="0">
                  <c:v>26</c:v>
                </c:pt>
                <c:pt idx="1">
                  <c:v>10</c:v>
                </c:pt>
                <c:pt idx="2">
                  <c:v>34</c:v>
                </c:pt>
                <c:pt idx="3">
                  <c:v>4</c:v>
                </c:pt>
                <c:pt idx="4">
                  <c:v>2</c:v>
                </c:pt>
                <c:pt idx="5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04-455B-A21B-E223C8EF0A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10</c:f>
              <c:strCache>
                <c:ptCount val="1"/>
                <c:pt idx="0">
                  <c:v>Average of Average Inf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10:$P$10</c:f>
              <c:numCache>
                <c:formatCode>0.0</c:formatCode>
                <c:ptCount val="5"/>
                <c:pt idx="0">
                  <c:v>4.1964285714285721</c:v>
                </c:pt>
                <c:pt idx="1">
                  <c:v>3.9033613445378155</c:v>
                </c:pt>
                <c:pt idx="2">
                  <c:v>4.0874149659863939</c:v>
                </c:pt>
                <c:pt idx="3">
                  <c:v>3.5621693121693121</c:v>
                </c:pt>
                <c:pt idx="4">
                  <c:v>3.4631283068783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51-4FD8-B1E2-582EEA63A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65752863"/>
        <c:axId val="1065781087"/>
      </c:barChart>
      <c:catAx>
        <c:axId val="1065752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781087"/>
        <c:crosses val="autoZero"/>
        <c:auto val="1"/>
        <c:lblAlgn val="ctr"/>
        <c:lblOffset val="100"/>
        <c:noMultiLvlLbl val="0"/>
      </c:catAx>
      <c:valAx>
        <c:axId val="10657810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575286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6</c:f>
              <c:strCache>
                <c:ptCount val="1"/>
                <c:pt idx="0">
                  <c:v>Recording during I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6:$T$16</c:f>
              <c:numCache>
                <c:formatCode>General</c:formatCode>
                <c:ptCount val="6"/>
                <c:pt idx="0">
                  <c:v>28</c:v>
                </c:pt>
                <c:pt idx="1">
                  <c:v>9</c:v>
                </c:pt>
                <c:pt idx="2">
                  <c:v>33</c:v>
                </c:pt>
                <c:pt idx="3">
                  <c:v>3</c:v>
                </c:pt>
                <c:pt idx="4">
                  <c:v>4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63-4A23-946B-07039B21907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7</c:f>
              <c:strCache>
                <c:ptCount val="1"/>
                <c:pt idx="0">
                  <c:v>Recording during SS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7:$T$17</c:f>
              <c:numCache>
                <c:formatCode>General</c:formatCode>
                <c:ptCount val="6"/>
                <c:pt idx="0">
                  <c:v>23</c:v>
                </c:pt>
                <c:pt idx="1">
                  <c:v>11</c:v>
                </c:pt>
                <c:pt idx="2">
                  <c:v>29</c:v>
                </c:pt>
                <c:pt idx="3">
                  <c:v>7</c:v>
                </c:pt>
                <c:pt idx="4">
                  <c:v>3</c:v>
                </c:pt>
                <c:pt idx="5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DA-4D80-B4F7-E1A0037176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8</c:f>
              <c:strCache>
                <c:ptCount val="1"/>
                <c:pt idx="0">
                  <c:v>Recording during Academic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8:$T$18</c:f>
              <c:numCache>
                <c:formatCode>General</c:formatCode>
                <c:ptCount val="6"/>
                <c:pt idx="0">
                  <c:v>28</c:v>
                </c:pt>
                <c:pt idx="1">
                  <c:v>8</c:v>
                </c:pt>
                <c:pt idx="2">
                  <c:v>30</c:v>
                </c:pt>
                <c:pt idx="3">
                  <c:v>5</c:v>
                </c:pt>
                <c:pt idx="4">
                  <c:v>3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0-4752-B2C9-AA73541798E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9</c:f>
              <c:strCache>
                <c:ptCount val="1"/>
                <c:pt idx="0">
                  <c:v>Recording during Classified Sen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9:$T$19</c:f>
              <c:numCache>
                <c:formatCode>General</c:formatCode>
                <c:ptCount val="6"/>
                <c:pt idx="0">
                  <c:v>23</c:v>
                </c:pt>
                <c:pt idx="1">
                  <c:v>9</c:v>
                </c:pt>
                <c:pt idx="2">
                  <c:v>32</c:v>
                </c:pt>
                <c:pt idx="3">
                  <c:v>7</c:v>
                </c:pt>
                <c:pt idx="4">
                  <c:v>3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55-4067-9D67-D52783A9C60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0</c:f>
              <c:strCache>
                <c:ptCount val="1"/>
                <c:pt idx="0">
                  <c:v>Recording during GP Steer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0:$T$20</c:f>
              <c:numCache>
                <c:formatCode>General</c:formatCode>
                <c:ptCount val="6"/>
                <c:pt idx="0">
                  <c:v>24</c:v>
                </c:pt>
                <c:pt idx="1">
                  <c:v>9</c:v>
                </c:pt>
                <c:pt idx="2">
                  <c:v>30</c:v>
                </c:pt>
                <c:pt idx="3">
                  <c:v>7</c:v>
                </c:pt>
                <c:pt idx="4">
                  <c:v>4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30-4189-9313-EE054C1216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1</c:f>
              <c:strCache>
                <c:ptCount val="1"/>
                <c:pt idx="0">
                  <c:v>Recording during College committe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13:$T$13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1:$T$21</c:f>
              <c:numCache>
                <c:formatCode>General</c:formatCode>
                <c:ptCount val="6"/>
                <c:pt idx="0">
                  <c:v>13</c:v>
                </c:pt>
                <c:pt idx="1">
                  <c:v>6</c:v>
                </c:pt>
                <c:pt idx="2">
                  <c:v>24</c:v>
                </c:pt>
                <c:pt idx="3">
                  <c:v>5</c:v>
                </c:pt>
                <c:pt idx="4">
                  <c:v>1</c:v>
                </c:pt>
                <c:pt idx="5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A0-4F99-B64C-75995E01C92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6387008"/>
        <c:axId val="1645312640"/>
      </c:barChart>
      <c:catAx>
        <c:axId val="1746387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12640"/>
        <c:crosses val="autoZero"/>
        <c:auto val="1"/>
        <c:lblAlgn val="ctr"/>
        <c:lblOffset val="100"/>
        <c:noMultiLvlLbl val="0"/>
      </c:catAx>
      <c:valAx>
        <c:axId val="1645312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6387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6</c:f>
              <c:strCache>
                <c:ptCount val="1"/>
                <c:pt idx="0">
                  <c:v>The campus community are encouraged to participat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25:$P$25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6:$P$26</c:f>
              <c:numCache>
                <c:formatCode>0.0</c:formatCode>
                <c:ptCount val="5"/>
                <c:pt idx="0">
                  <c:v>4.666666666666667</c:v>
                </c:pt>
                <c:pt idx="1">
                  <c:v>3.5</c:v>
                </c:pt>
                <c:pt idx="2">
                  <c:v>4.1428571428571432</c:v>
                </c:pt>
                <c:pt idx="3">
                  <c:v>3.4444444444444446</c:v>
                </c:pt>
                <c:pt idx="4">
                  <c:v>3.472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62-466A-A6FF-5892FC13DA3E}"/>
            </c:ext>
          </c:extLst>
        </c:ser>
        <c:ser>
          <c:idx val="1"/>
          <c:order val="1"/>
          <c:tx>
            <c:strRef>
              <c:f>'Numeric pivot'!$K$27</c:f>
              <c:strCache>
                <c:ptCount val="1"/>
                <c:pt idx="0">
                  <c:v>Roles and responsibilities are clea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25:$P$25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7:$P$27</c:f>
              <c:numCache>
                <c:formatCode>0.0</c:formatCode>
                <c:ptCount val="5"/>
                <c:pt idx="0">
                  <c:v>4</c:v>
                </c:pt>
                <c:pt idx="1">
                  <c:v>3.2222222222222223</c:v>
                </c:pt>
                <c:pt idx="2">
                  <c:v>3.8095238095238093</c:v>
                </c:pt>
                <c:pt idx="3">
                  <c:v>3.3333333333333335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62-466A-A6FF-5892FC13DA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22136239"/>
        <c:axId val="1985853167"/>
      </c:barChart>
      <c:catAx>
        <c:axId val="20221362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853167"/>
        <c:crosses val="autoZero"/>
        <c:auto val="1"/>
        <c:lblAlgn val="ctr"/>
        <c:lblOffset val="100"/>
        <c:noMultiLvlLbl val="0"/>
      </c:catAx>
      <c:valAx>
        <c:axId val="198585316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1362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5</c:f>
              <c:strCache>
                <c:ptCount val="1"/>
                <c:pt idx="0">
                  <c:v>The campus community are encouraged to participate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5:$T$25</c:f>
              <c:numCache>
                <c:formatCode>General</c:formatCode>
                <c:ptCount val="6"/>
                <c:pt idx="0">
                  <c:v>29</c:v>
                </c:pt>
                <c:pt idx="1">
                  <c:v>29</c:v>
                </c:pt>
                <c:pt idx="2">
                  <c:v>9</c:v>
                </c:pt>
                <c:pt idx="3">
                  <c:v>12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45C-4923-AD4F-E82F5510175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6</c:f>
              <c:strCache>
                <c:ptCount val="1"/>
                <c:pt idx="0">
                  <c:v>Roles and responsibilities are clea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6:$T$26</c:f>
              <c:numCache>
                <c:formatCode>General</c:formatCode>
                <c:ptCount val="6"/>
                <c:pt idx="0">
                  <c:v>24</c:v>
                </c:pt>
                <c:pt idx="1">
                  <c:v>22</c:v>
                </c:pt>
                <c:pt idx="2">
                  <c:v>18</c:v>
                </c:pt>
                <c:pt idx="3">
                  <c:v>15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22-4C41-8C56-3D4C6D6F282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1</c:f>
              <c:strCache>
                <c:ptCount val="1"/>
                <c:pt idx="0">
                  <c:v>The participatory governance process is working well at Cañada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0:$P$5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1:$P$51</c:f>
              <c:numCache>
                <c:formatCode>0.0</c:formatCode>
                <c:ptCount val="5"/>
                <c:pt idx="0">
                  <c:v>4.333333333333333</c:v>
                </c:pt>
                <c:pt idx="1">
                  <c:v>3.2777777777777777</c:v>
                </c:pt>
                <c:pt idx="2">
                  <c:v>3.4761904761904763</c:v>
                </c:pt>
                <c:pt idx="3">
                  <c:v>3.3333333333333335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ED-4FCE-9FBF-2238A9D51C8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19085455"/>
        <c:axId val="1984662351"/>
      </c:barChart>
      <c:catAx>
        <c:axId val="1919085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4662351"/>
        <c:crosses val="autoZero"/>
        <c:auto val="1"/>
        <c:lblAlgn val="ctr"/>
        <c:lblOffset val="100"/>
        <c:noMultiLvlLbl val="0"/>
      </c:catAx>
      <c:valAx>
        <c:axId val="1984662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9085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11</c:f>
              <c:strCache>
                <c:ptCount val="1"/>
                <c:pt idx="0">
                  <c:v>Meeting Information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11:$T$11</c:f>
              <c:numCache>
                <c:formatCode>General</c:formatCode>
                <c:ptCount val="6"/>
                <c:pt idx="0">
                  <c:v>221</c:v>
                </c:pt>
                <c:pt idx="1">
                  <c:v>91</c:v>
                </c:pt>
                <c:pt idx="2">
                  <c:v>203</c:v>
                </c:pt>
                <c:pt idx="3">
                  <c:v>49</c:v>
                </c:pt>
                <c:pt idx="4">
                  <c:v>40</c:v>
                </c:pt>
                <c:pt idx="5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72-4AB1-A94D-CF2776BA8C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27</c:f>
              <c:strCache>
                <c:ptCount val="1"/>
                <c:pt idx="0">
                  <c:v>The participatory governance process is working well at Cañada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4:$T$2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27:$T$27</c:f>
              <c:numCache>
                <c:formatCode>General</c:formatCode>
                <c:ptCount val="6"/>
                <c:pt idx="0">
                  <c:v>22</c:v>
                </c:pt>
                <c:pt idx="1">
                  <c:v>25</c:v>
                </c:pt>
                <c:pt idx="2">
                  <c:v>22</c:v>
                </c:pt>
                <c:pt idx="3">
                  <c:v>11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83-4BBC-BF7B-FF32B86D6D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3163728"/>
        <c:axId val="1408964624"/>
      </c:barChart>
      <c:catAx>
        <c:axId val="1743163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64624"/>
        <c:crosses val="autoZero"/>
        <c:auto val="1"/>
        <c:lblAlgn val="ctr"/>
        <c:lblOffset val="100"/>
        <c:noMultiLvlLbl val="0"/>
      </c:catAx>
      <c:valAx>
        <c:axId val="1408964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3163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5</c:f>
              <c:strCache>
                <c:ptCount val="1"/>
                <c:pt idx="0">
                  <c:v>Program Review A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5:$P$35</c:f>
              <c:numCache>
                <c:formatCode>0.0</c:formatCode>
                <c:ptCount val="5"/>
                <c:pt idx="0">
                  <c:v>4.333333333333333</c:v>
                </c:pt>
                <c:pt idx="1">
                  <c:v>3.5138888888888888</c:v>
                </c:pt>
                <c:pt idx="2">
                  <c:v>3.4047619047619047</c:v>
                </c:pt>
                <c:pt idx="3">
                  <c:v>3.75</c:v>
                </c:pt>
                <c:pt idx="4">
                  <c:v>3.44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0D-4533-A59A-BF44941CC7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429327"/>
        <c:axId val="1985850255"/>
      </c:barChart>
      <c:catAx>
        <c:axId val="20074293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850255"/>
        <c:crosses val="autoZero"/>
        <c:auto val="1"/>
        <c:lblAlgn val="ctr"/>
        <c:lblOffset val="100"/>
        <c:noMultiLvlLbl val="0"/>
      </c:catAx>
      <c:valAx>
        <c:axId val="19858502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29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4</c:f>
              <c:strCache>
                <c:ptCount val="1"/>
                <c:pt idx="0">
                  <c:v>Program Review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4:$T$34</c:f>
              <c:numCache>
                <c:formatCode>General</c:formatCode>
                <c:ptCount val="6"/>
                <c:pt idx="0">
                  <c:v>103</c:v>
                </c:pt>
                <c:pt idx="1">
                  <c:v>96</c:v>
                </c:pt>
                <c:pt idx="2">
                  <c:v>67</c:v>
                </c:pt>
                <c:pt idx="3">
                  <c:v>34</c:v>
                </c:pt>
                <c:pt idx="4">
                  <c:v>45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2D1-4703-BE3E-C6E2C3CEF3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1</c:f>
              <c:strCache>
                <c:ptCount val="1"/>
                <c:pt idx="0">
                  <c:v>I understand program review's role in aligning program and college go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1:$P$31</c:f>
              <c:numCache>
                <c:formatCode>0.0</c:formatCode>
                <c:ptCount val="5"/>
                <c:pt idx="0">
                  <c:v>4.333333333333333</c:v>
                </c:pt>
                <c:pt idx="1">
                  <c:v>3.5882352941176472</c:v>
                </c:pt>
                <c:pt idx="2">
                  <c:v>3.3333333333333335</c:v>
                </c:pt>
                <c:pt idx="3">
                  <c:v>4.1111111111111107</c:v>
                </c:pt>
                <c:pt idx="4">
                  <c:v>3.1388888888888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74-47B4-8B44-5AE10591490C}"/>
            </c:ext>
          </c:extLst>
        </c:ser>
        <c:ser>
          <c:idx val="1"/>
          <c:order val="1"/>
          <c:tx>
            <c:strRef>
              <c:f>'Numeric pivot'!$K$32</c:f>
              <c:strCache>
                <c:ptCount val="1"/>
                <c:pt idx="0">
                  <c:v>I engage in dialogue about program and/or course assessment result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2:$P$32</c:f>
              <c:numCache>
                <c:formatCode>0.0</c:formatCode>
                <c:ptCount val="5"/>
                <c:pt idx="0">
                  <c:v>4.333333333333333</c:v>
                </c:pt>
                <c:pt idx="1">
                  <c:v>3.4705882352941178</c:v>
                </c:pt>
                <c:pt idx="2">
                  <c:v>3.7619047619047619</c:v>
                </c:pt>
                <c:pt idx="3">
                  <c:v>3.5555555555555554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74-47B4-8B44-5AE10591490C}"/>
            </c:ext>
          </c:extLst>
        </c:ser>
        <c:ser>
          <c:idx val="2"/>
          <c:order val="2"/>
          <c:tx>
            <c:strRef>
              <c:f>'Numeric pivot'!$K$33</c:f>
              <c:strCache>
                <c:ptCount val="1"/>
                <c:pt idx="0">
                  <c:v>I understand how program assessment informs decisions about curriculum, program development and/or resource allocation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3:$P$33</c:f>
              <c:numCache>
                <c:formatCode>0.0</c:formatCode>
                <c:ptCount val="5"/>
                <c:pt idx="0">
                  <c:v>4.333333333333333</c:v>
                </c:pt>
                <c:pt idx="1">
                  <c:v>3.6470588235294117</c:v>
                </c:pt>
                <c:pt idx="2">
                  <c:v>3.5714285714285716</c:v>
                </c:pt>
                <c:pt idx="3">
                  <c:v>3.7777777777777777</c:v>
                </c:pt>
                <c:pt idx="4">
                  <c:v>3.44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74-47B4-8B44-5AE10591490C}"/>
            </c:ext>
          </c:extLst>
        </c:ser>
        <c:ser>
          <c:idx val="3"/>
          <c:order val="3"/>
          <c:tx>
            <c:strRef>
              <c:f>'Numeric pivot'!$K$34</c:f>
              <c:strCache>
                <c:ptCount val="1"/>
                <c:pt idx="0">
                  <c:v>The program review process is an effective way to evaluate programs on campu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0:$P$30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4:$P$34</c:f>
              <c:numCache>
                <c:formatCode>0.0</c:formatCode>
                <c:ptCount val="5"/>
                <c:pt idx="0">
                  <c:v>4.333333333333333</c:v>
                </c:pt>
                <c:pt idx="1">
                  <c:v>3.4444444444444446</c:v>
                </c:pt>
                <c:pt idx="2">
                  <c:v>2.9523809523809526</c:v>
                </c:pt>
                <c:pt idx="3">
                  <c:v>3.5555555555555554</c:v>
                </c:pt>
                <c:pt idx="4">
                  <c:v>3.8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74-47B4-8B44-5AE10591490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808193647"/>
        <c:axId val="1955502111"/>
      </c:barChart>
      <c:catAx>
        <c:axId val="1808193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502111"/>
        <c:crosses val="autoZero"/>
        <c:auto val="1"/>
        <c:lblAlgn val="ctr"/>
        <c:lblOffset val="100"/>
        <c:noMultiLvlLbl val="0"/>
      </c:catAx>
      <c:valAx>
        <c:axId val="195550211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0819364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0</c:f>
              <c:strCache>
                <c:ptCount val="1"/>
                <c:pt idx="0">
                  <c:v>I understand program review's role in aligning program and college goa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0:$T$30</c:f>
              <c:numCache>
                <c:formatCode>General</c:formatCode>
                <c:ptCount val="6"/>
                <c:pt idx="0">
                  <c:v>25</c:v>
                </c:pt>
                <c:pt idx="1">
                  <c:v>24</c:v>
                </c:pt>
                <c:pt idx="2">
                  <c:v>12</c:v>
                </c:pt>
                <c:pt idx="3">
                  <c:v>12</c:v>
                </c:pt>
                <c:pt idx="4">
                  <c:v>13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38-4BF1-819B-7050E567211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1</c:f>
              <c:strCache>
                <c:ptCount val="1"/>
                <c:pt idx="0">
                  <c:v>I engage in dialogue about program and/or course assessment result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1:$T$31</c:f>
              <c:numCache>
                <c:formatCode>General</c:formatCode>
                <c:ptCount val="6"/>
                <c:pt idx="0">
                  <c:v>27</c:v>
                </c:pt>
                <c:pt idx="1">
                  <c:v>21</c:v>
                </c:pt>
                <c:pt idx="2">
                  <c:v>21</c:v>
                </c:pt>
                <c:pt idx="3">
                  <c:v>4</c:v>
                </c:pt>
                <c:pt idx="4">
                  <c:v>13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1E4-48AB-81D7-7157967A36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2</c:f>
              <c:strCache>
                <c:ptCount val="1"/>
                <c:pt idx="0">
                  <c:v>I understand how program assessment informs decisions about curriculum, program development and/or resource allocation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2:$T$32</c:f>
              <c:numCache>
                <c:formatCode>General</c:formatCode>
                <c:ptCount val="6"/>
                <c:pt idx="0">
                  <c:v>28</c:v>
                </c:pt>
                <c:pt idx="1">
                  <c:v>21</c:v>
                </c:pt>
                <c:pt idx="2">
                  <c:v>19</c:v>
                </c:pt>
                <c:pt idx="3">
                  <c:v>9</c:v>
                </c:pt>
                <c:pt idx="4">
                  <c:v>9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513-4778-9CA5-61F026E51A3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3</c:f>
              <c:strCache>
                <c:ptCount val="1"/>
                <c:pt idx="0">
                  <c:v>The program review process is an effective way to evaluate programs on campu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9:$T$2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3:$T$33</c:f>
              <c:numCache>
                <c:formatCode>General</c:formatCode>
                <c:ptCount val="6"/>
                <c:pt idx="0">
                  <c:v>23</c:v>
                </c:pt>
                <c:pt idx="1">
                  <c:v>30</c:v>
                </c:pt>
                <c:pt idx="2">
                  <c:v>15</c:v>
                </c:pt>
                <c:pt idx="3">
                  <c:v>9</c:v>
                </c:pt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60-41E3-9D05-F0F7EB2FCAC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05930160"/>
        <c:axId val="1569507792"/>
      </c:barChart>
      <c:catAx>
        <c:axId val="1705930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7792"/>
        <c:crosses val="autoZero"/>
        <c:auto val="1"/>
        <c:lblAlgn val="ctr"/>
        <c:lblOffset val="100"/>
        <c:noMultiLvlLbl val="0"/>
      </c:catAx>
      <c:valAx>
        <c:axId val="1569507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593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39</c:f>
              <c:strCache>
                <c:ptCount val="1"/>
                <c:pt idx="0">
                  <c:v>I understand the resource request process and how it relates to program reviews and annual updat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9:$P$39</c:f>
              <c:numCache>
                <c:formatCode>0.0</c:formatCode>
                <c:ptCount val="5"/>
                <c:pt idx="0">
                  <c:v>4.666666666666667</c:v>
                </c:pt>
                <c:pt idx="1">
                  <c:v>3.5555555555555554</c:v>
                </c:pt>
                <c:pt idx="2">
                  <c:v>3.2</c:v>
                </c:pt>
                <c:pt idx="3">
                  <c:v>3.3333333333333335</c:v>
                </c:pt>
                <c:pt idx="4">
                  <c:v>3.1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BE-4AD2-8742-472012BFC2D6}"/>
            </c:ext>
          </c:extLst>
        </c:ser>
        <c:ser>
          <c:idx val="1"/>
          <c:order val="1"/>
          <c:tx>
            <c:strRef>
              <c:f>'Numeric pivot'!$K$40</c:f>
              <c:strCache>
                <c:ptCount val="1"/>
                <c:pt idx="0">
                  <c:v>Cañada College employees have adequate opportunities to participate in resource prioritizati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0:$P$40</c:f>
              <c:numCache>
                <c:formatCode>0.0</c:formatCode>
                <c:ptCount val="5"/>
                <c:pt idx="0">
                  <c:v>4.666666666666667</c:v>
                </c:pt>
                <c:pt idx="1">
                  <c:v>3.1666666666666665</c:v>
                </c:pt>
                <c:pt idx="2">
                  <c:v>3.0476190476190474</c:v>
                </c:pt>
                <c:pt idx="3">
                  <c:v>2.3333333333333335</c:v>
                </c:pt>
                <c:pt idx="4">
                  <c:v>3.52777777777777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1BE-4AD2-8742-472012BFC2D6}"/>
            </c:ext>
          </c:extLst>
        </c:ser>
        <c:ser>
          <c:idx val="2"/>
          <c:order val="2"/>
          <c:tx>
            <c:strRef>
              <c:f>'Numeric pivot'!$K$41</c:f>
              <c:strCache>
                <c:ptCount val="1"/>
                <c:pt idx="0">
                  <c:v>Budget avera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38:$P$38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1:$P$41</c:f>
              <c:numCache>
                <c:formatCode>0.0</c:formatCode>
                <c:ptCount val="5"/>
                <c:pt idx="0">
                  <c:v>4.666666666666667</c:v>
                </c:pt>
                <c:pt idx="1">
                  <c:v>3.3611111111111112</c:v>
                </c:pt>
                <c:pt idx="2">
                  <c:v>3.1190476190476191</c:v>
                </c:pt>
                <c:pt idx="3">
                  <c:v>2.8333333333333335</c:v>
                </c:pt>
                <c:pt idx="4">
                  <c:v>3.347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BE-4AD2-8742-472012BFC2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07440527"/>
        <c:axId val="1941304783"/>
      </c:barChart>
      <c:catAx>
        <c:axId val="20074405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1304783"/>
        <c:crosses val="autoZero"/>
        <c:auto val="1"/>
        <c:lblAlgn val="ctr"/>
        <c:lblOffset val="100"/>
        <c:noMultiLvlLbl val="0"/>
      </c:catAx>
      <c:valAx>
        <c:axId val="1941304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4405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7</c:f>
              <c:strCache>
                <c:ptCount val="1"/>
                <c:pt idx="0">
                  <c:v>I understand the resource request process and how it relates to program reviews and annual updat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7:$T$37</c:f>
              <c:numCache>
                <c:formatCode>General</c:formatCode>
                <c:ptCount val="6"/>
                <c:pt idx="0">
                  <c:v>19</c:v>
                </c:pt>
                <c:pt idx="1">
                  <c:v>28</c:v>
                </c:pt>
                <c:pt idx="2">
                  <c:v>12</c:v>
                </c:pt>
                <c:pt idx="3">
                  <c:v>16</c:v>
                </c:pt>
                <c:pt idx="4">
                  <c:v>1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A8-42C3-AAB0-201EC12F3D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37945840"/>
        <c:axId val="1639587184"/>
      </c:barChart>
      <c:catAx>
        <c:axId val="1637945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587184"/>
        <c:crosses val="autoZero"/>
        <c:auto val="1"/>
        <c:lblAlgn val="ctr"/>
        <c:lblOffset val="100"/>
        <c:noMultiLvlLbl val="0"/>
      </c:catAx>
      <c:valAx>
        <c:axId val="1639587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7945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L$1</c:f>
              <c:strCache>
                <c:ptCount val="1"/>
                <c:pt idx="0">
                  <c:v>Administrato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L$2:$L$9</c:f>
              <c:numCache>
                <c:formatCode>0.0</c:formatCode>
                <c:ptCount val="8"/>
                <c:pt idx="0">
                  <c:v>4.666666666666667</c:v>
                </c:pt>
                <c:pt idx="1">
                  <c:v>4.333333333333333</c:v>
                </c:pt>
                <c:pt idx="2">
                  <c:v>4</c:v>
                </c:pt>
                <c:pt idx="3">
                  <c:v>4.333333333333333</c:v>
                </c:pt>
                <c:pt idx="4">
                  <c:v>3.3333333333333335</c:v>
                </c:pt>
                <c:pt idx="5">
                  <c:v>4</c:v>
                </c:pt>
                <c:pt idx="6">
                  <c:v>4.666666666666667</c:v>
                </c:pt>
                <c:pt idx="7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12-48FD-9EF4-89C79DEA62F9}"/>
            </c:ext>
          </c:extLst>
        </c:ser>
        <c:ser>
          <c:idx val="1"/>
          <c:order val="1"/>
          <c:tx>
            <c:strRef>
              <c:f>'Numeric pivot'!$M$1</c:f>
              <c:strCache>
                <c:ptCount val="1"/>
                <c:pt idx="0">
                  <c:v>Classified Staff or Manager/Supervis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M$2:$M$9</c:f>
              <c:numCache>
                <c:formatCode>0.0</c:formatCode>
                <c:ptCount val="8"/>
                <c:pt idx="0">
                  <c:v>4.375</c:v>
                </c:pt>
                <c:pt idx="1">
                  <c:v>3.8</c:v>
                </c:pt>
                <c:pt idx="2">
                  <c:v>4</c:v>
                </c:pt>
                <c:pt idx="3">
                  <c:v>3.9333333333333331</c:v>
                </c:pt>
                <c:pt idx="4">
                  <c:v>3.5</c:v>
                </c:pt>
                <c:pt idx="5">
                  <c:v>4.125</c:v>
                </c:pt>
                <c:pt idx="6">
                  <c:v>3.2142857142857144</c:v>
                </c:pt>
                <c:pt idx="7">
                  <c:v>2.8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12-48FD-9EF4-89C79DEA62F9}"/>
            </c:ext>
          </c:extLst>
        </c:ser>
        <c:ser>
          <c:idx val="2"/>
          <c:order val="2"/>
          <c:tx>
            <c:strRef>
              <c:f>'Numeric pivot'!$N$1</c:f>
              <c:strCache>
                <c:ptCount val="1"/>
                <c:pt idx="0">
                  <c:v>Faculty (full time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N$2:$N$9</c:f>
              <c:numCache>
                <c:formatCode>0.0</c:formatCode>
                <c:ptCount val="8"/>
                <c:pt idx="0">
                  <c:v>4.55</c:v>
                </c:pt>
                <c:pt idx="1">
                  <c:v>3.5</c:v>
                </c:pt>
                <c:pt idx="2">
                  <c:v>4.166666666666667</c:v>
                </c:pt>
                <c:pt idx="3">
                  <c:v>4.117647058823529</c:v>
                </c:pt>
                <c:pt idx="4">
                  <c:v>4.8499999999999996</c:v>
                </c:pt>
                <c:pt idx="5">
                  <c:v>3.5625</c:v>
                </c:pt>
                <c:pt idx="6">
                  <c:v>3.4117647058823528</c:v>
                </c:pt>
                <c:pt idx="7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412-48FD-9EF4-89C79DEA62F9}"/>
            </c:ext>
          </c:extLst>
        </c:ser>
        <c:ser>
          <c:idx val="3"/>
          <c:order val="3"/>
          <c:tx>
            <c:strRef>
              <c:f>'Numeric pivot'!$O$1</c:f>
              <c:strCache>
                <c:ptCount val="1"/>
                <c:pt idx="0">
                  <c:v>Faculty (part time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O$2:$O$9</c:f>
              <c:numCache>
                <c:formatCode>0.0</c:formatCode>
                <c:ptCount val="8"/>
                <c:pt idx="0">
                  <c:v>3.7777777777777777</c:v>
                </c:pt>
                <c:pt idx="1">
                  <c:v>3.3333333333333335</c:v>
                </c:pt>
                <c:pt idx="2">
                  <c:v>3.3333333333333335</c:v>
                </c:pt>
                <c:pt idx="3">
                  <c:v>3.5555555555555554</c:v>
                </c:pt>
                <c:pt idx="4">
                  <c:v>4</c:v>
                </c:pt>
                <c:pt idx="5">
                  <c:v>3.4444444444444446</c:v>
                </c:pt>
                <c:pt idx="6">
                  <c:v>3.375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412-48FD-9EF4-89C79DEA62F9}"/>
            </c:ext>
          </c:extLst>
        </c:ser>
        <c:ser>
          <c:idx val="4"/>
          <c:order val="4"/>
          <c:tx>
            <c:strRef>
              <c:f>'Numeric pivot'!$P$1</c:f>
              <c:strCache>
                <c:ptCount val="1"/>
                <c:pt idx="0">
                  <c:v>Student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K$2:$K$9</c:f>
              <c:strCache>
                <c:ptCount val="8"/>
                <c:pt idx="0">
                  <c:v>PBC</c:v>
                </c:pt>
                <c:pt idx="1">
                  <c:v>ASCC</c:v>
                </c:pt>
                <c:pt idx="2">
                  <c:v>IPC</c:v>
                </c:pt>
                <c:pt idx="3">
                  <c:v>SSPC</c:v>
                </c:pt>
                <c:pt idx="4">
                  <c:v>Academic Senate</c:v>
                </c:pt>
                <c:pt idx="5">
                  <c:v>Classified Senate</c:v>
                </c:pt>
                <c:pt idx="6">
                  <c:v>GP Steering</c:v>
                </c:pt>
                <c:pt idx="7">
                  <c:v>College committees</c:v>
                </c:pt>
              </c:strCache>
            </c:strRef>
          </c:cat>
          <c:val>
            <c:numRef>
              <c:f>'Numeric pivot'!$P$2:$P$9</c:f>
              <c:numCache>
                <c:formatCode>0.0</c:formatCode>
                <c:ptCount val="8"/>
                <c:pt idx="0">
                  <c:v>3.3333333333333335</c:v>
                </c:pt>
                <c:pt idx="1">
                  <c:v>3.6944444444444446</c:v>
                </c:pt>
                <c:pt idx="2">
                  <c:v>3.393939393939394</c:v>
                </c:pt>
                <c:pt idx="3">
                  <c:v>3.4857142857142858</c:v>
                </c:pt>
                <c:pt idx="4">
                  <c:v>3.4857142857142858</c:v>
                </c:pt>
                <c:pt idx="5">
                  <c:v>3.2352941176470589</c:v>
                </c:pt>
                <c:pt idx="6">
                  <c:v>3.3714285714285714</c:v>
                </c:pt>
                <c:pt idx="7">
                  <c:v>3.3793103448275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412-48FD-9EF4-89C79DEA62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9183487"/>
        <c:axId val="1003599599"/>
      </c:barChart>
      <c:catAx>
        <c:axId val="87918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3599599"/>
        <c:crosses val="autoZero"/>
        <c:auto val="1"/>
        <c:lblAlgn val="ctr"/>
        <c:lblOffset val="100"/>
        <c:noMultiLvlLbl val="0"/>
      </c:catAx>
      <c:valAx>
        <c:axId val="1003599599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918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8</c:f>
              <c:strCache>
                <c:ptCount val="1"/>
                <c:pt idx="0">
                  <c:v>Cañada College employees have adequate opportunities to participate in resource prioritiz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8:$T$38</c:f>
              <c:numCache>
                <c:formatCode>General</c:formatCode>
                <c:ptCount val="6"/>
                <c:pt idx="0">
                  <c:v>17</c:v>
                </c:pt>
                <c:pt idx="1">
                  <c:v>25</c:v>
                </c:pt>
                <c:pt idx="2">
                  <c:v>22</c:v>
                </c:pt>
                <c:pt idx="3">
                  <c:v>9</c:v>
                </c:pt>
                <c:pt idx="4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7F-42E8-BA7A-0FFB833702D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0182432"/>
        <c:axId val="1639601744"/>
      </c:barChart>
      <c:catAx>
        <c:axId val="1640182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1744"/>
        <c:crosses val="autoZero"/>
        <c:auto val="1"/>
        <c:lblAlgn val="ctr"/>
        <c:lblOffset val="100"/>
        <c:noMultiLvlLbl val="0"/>
      </c:catAx>
      <c:valAx>
        <c:axId val="1639601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0182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9</c:f>
              <c:strCache>
                <c:ptCount val="1"/>
                <c:pt idx="0">
                  <c:v>Budget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36:$T$36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9:$T$39</c:f>
              <c:numCache>
                <c:formatCode>General</c:formatCode>
                <c:ptCount val="6"/>
                <c:pt idx="0">
                  <c:v>36</c:v>
                </c:pt>
                <c:pt idx="1">
                  <c:v>53</c:v>
                </c:pt>
                <c:pt idx="2">
                  <c:v>34</c:v>
                </c:pt>
                <c:pt idx="3">
                  <c:v>25</c:v>
                </c:pt>
                <c:pt idx="4">
                  <c:v>25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E6-4B64-8802-AA7F32CA2BF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6608"/>
        <c:axId val="1639591344"/>
      </c:barChart>
      <c:catAx>
        <c:axId val="1645466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591344"/>
        <c:crosses val="autoZero"/>
        <c:auto val="1"/>
        <c:lblAlgn val="ctr"/>
        <c:lblOffset val="100"/>
        <c:noMultiLvlLbl val="0"/>
      </c:catAx>
      <c:valAx>
        <c:axId val="1639591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6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44</c:f>
              <c:strCache>
                <c:ptCount val="1"/>
                <c:pt idx="0">
                  <c:v>I am aware of Cañada's goals for the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4:$P$44</c:f>
              <c:numCache>
                <c:formatCode>0%</c:formatCode>
                <c:ptCount val="5"/>
                <c:pt idx="0">
                  <c:v>1</c:v>
                </c:pt>
                <c:pt idx="1">
                  <c:v>0.72222222222222221</c:v>
                </c:pt>
                <c:pt idx="2">
                  <c:v>0.80952380952380953</c:v>
                </c:pt>
                <c:pt idx="3">
                  <c:v>0.66666666666666663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7F-41A8-869D-AC88570184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30858799"/>
        <c:axId val="2013433791"/>
      </c:barChart>
      <c:catAx>
        <c:axId val="1930858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33791"/>
        <c:crosses val="autoZero"/>
        <c:auto val="1"/>
        <c:lblAlgn val="ctr"/>
        <c:lblOffset val="100"/>
        <c:noMultiLvlLbl val="0"/>
      </c:catAx>
      <c:valAx>
        <c:axId val="20134337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0858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3</c:f>
              <c:strCache>
                <c:ptCount val="1"/>
                <c:pt idx="0">
                  <c:v>I am aware of Cañada's goals for the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2:$P$42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'Survye pivot'!$O$43:$P$43</c:f>
              <c:numCache>
                <c:formatCode>General</c:formatCode>
                <c:ptCount val="2"/>
                <c:pt idx="0">
                  <c:v>30</c:v>
                </c:pt>
                <c:pt idx="1">
                  <c:v>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4E-4441-BC68-9AEC65B5283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32884384"/>
        <c:axId val="1408951728"/>
      </c:barChart>
      <c:catAx>
        <c:axId val="1732884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8951728"/>
        <c:crosses val="autoZero"/>
        <c:auto val="1"/>
        <c:lblAlgn val="ctr"/>
        <c:lblOffset val="100"/>
        <c:noMultiLvlLbl val="0"/>
      </c:catAx>
      <c:valAx>
        <c:axId val="1408951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2884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45</c:f>
              <c:strCache>
                <c:ptCount val="1"/>
                <c:pt idx="0">
                  <c:v>The College works collaboratively towards the goal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5:$P$45</c:f>
              <c:numCache>
                <c:formatCode>0.0</c:formatCode>
                <c:ptCount val="5"/>
                <c:pt idx="0">
                  <c:v>4.666666666666667</c:v>
                </c:pt>
                <c:pt idx="1">
                  <c:v>3.8333333333333335</c:v>
                </c:pt>
                <c:pt idx="2">
                  <c:v>3.6</c:v>
                </c:pt>
                <c:pt idx="3">
                  <c:v>3.6666666666666665</c:v>
                </c:pt>
                <c:pt idx="4">
                  <c:v>3.9722222222222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52-473A-8C8C-F232D8E8DF56}"/>
            </c:ext>
          </c:extLst>
        </c:ser>
        <c:ser>
          <c:idx val="1"/>
          <c:order val="1"/>
          <c:tx>
            <c:strRef>
              <c:f>'Numeric pivot'!$K$46</c:f>
              <c:strCache>
                <c:ptCount val="1"/>
                <c:pt idx="0">
                  <c:v>I am satisfied with the opportunity I have to participate in college-wide plannin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6:$P$46</c:f>
              <c:numCache>
                <c:formatCode>0.0</c:formatCode>
                <c:ptCount val="5"/>
                <c:pt idx="0">
                  <c:v>5</c:v>
                </c:pt>
                <c:pt idx="1">
                  <c:v>3.3888888888888888</c:v>
                </c:pt>
                <c:pt idx="2">
                  <c:v>4.2380952380952381</c:v>
                </c:pt>
                <c:pt idx="3">
                  <c:v>3.6666666666666665</c:v>
                </c:pt>
                <c:pt idx="4">
                  <c:v>3.36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52-473A-8C8C-F232D8E8DF56}"/>
            </c:ext>
          </c:extLst>
        </c:ser>
        <c:ser>
          <c:idx val="2"/>
          <c:order val="2"/>
          <c:tx>
            <c:strRef>
              <c:f>'Numeric pivot'!$K$47</c:f>
              <c:strCache>
                <c:ptCount val="1"/>
                <c:pt idx="0">
                  <c:v>Planning averag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43:$P$43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7:$P$47</c:f>
              <c:numCache>
                <c:formatCode>0.0</c:formatCode>
                <c:ptCount val="5"/>
                <c:pt idx="0">
                  <c:v>4.833333333333333</c:v>
                </c:pt>
                <c:pt idx="1">
                  <c:v>3.6111111111111112</c:v>
                </c:pt>
                <c:pt idx="2">
                  <c:v>3.9523809523809526</c:v>
                </c:pt>
                <c:pt idx="3">
                  <c:v>3.6666666666666665</c:v>
                </c:pt>
                <c:pt idx="4">
                  <c:v>3.66666666666666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52-473A-8C8C-F232D8E8DF5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07388127"/>
        <c:axId val="2013444191"/>
      </c:barChart>
      <c:catAx>
        <c:axId val="2007388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3444191"/>
        <c:crosses val="autoZero"/>
        <c:auto val="1"/>
        <c:lblAlgn val="ctr"/>
        <c:lblOffset val="100"/>
        <c:noMultiLvlLbl val="0"/>
      </c:catAx>
      <c:valAx>
        <c:axId val="2013444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073881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5</c:f>
              <c:strCache>
                <c:ptCount val="1"/>
                <c:pt idx="0">
                  <c:v>The College works collaboratively towards the goal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5:$T$45</c:f>
              <c:numCache>
                <c:formatCode>General</c:formatCode>
                <c:ptCount val="6"/>
                <c:pt idx="0">
                  <c:v>33</c:v>
                </c:pt>
                <c:pt idx="1">
                  <c:v>27</c:v>
                </c:pt>
                <c:pt idx="2">
                  <c:v>13</c:v>
                </c:pt>
                <c:pt idx="3">
                  <c:v>6</c:v>
                </c:pt>
                <c:pt idx="4">
                  <c:v>7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C0-4BEA-B9EE-5272CF4622A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6</c:f>
              <c:strCache>
                <c:ptCount val="1"/>
                <c:pt idx="0">
                  <c:v>I am satisfied with the opportunity I have to participate in college-wide plann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6:$T$46</c:f>
              <c:numCache>
                <c:formatCode>General</c:formatCode>
                <c:ptCount val="6"/>
                <c:pt idx="0">
                  <c:v>28</c:v>
                </c:pt>
                <c:pt idx="1">
                  <c:v>23</c:v>
                </c:pt>
                <c:pt idx="2">
                  <c:v>22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43-443E-B28A-F34B806F5D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7</c:f>
              <c:strCache>
                <c:ptCount val="1"/>
                <c:pt idx="0">
                  <c:v>Planning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4:$T$44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7:$T$47</c:f>
              <c:numCache>
                <c:formatCode>General</c:formatCode>
                <c:ptCount val="6"/>
                <c:pt idx="0">
                  <c:v>61</c:v>
                </c:pt>
                <c:pt idx="1">
                  <c:v>50</c:v>
                </c:pt>
                <c:pt idx="2">
                  <c:v>35</c:v>
                </c:pt>
                <c:pt idx="3">
                  <c:v>13</c:v>
                </c:pt>
                <c:pt idx="4">
                  <c:v>14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03-4CDE-B521-E4DCC96147F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67140400"/>
        <c:axId val="1734239136"/>
      </c:barChart>
      <c:catAx>
        <c:axId val="1767140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4239136"/>
        <c:crosses val="autoZero"/>
        <c:auto val="1"/>
        <c:lblAlgn val="ctr"/>
        <c:lblOffset val="100"/>
        <c:noMultiLvlLbl val="0"/>
      </c:catAx>
      <c:valAx>
        <c:axId val="17342391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7140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9</c:f>
              <c:strCache>
                <c:ptCount val="1"/>
                <c:pt idx="0">
                  <c:v>District averag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9:$P$59</c:f>
              <c:numCache>
                <c:formatCode>0.0</c:formatCode>
                <c:ptCount val="5"/>
                <c:pt idx="0">
                  <c:v>4.333333333333333</c:v>
                </c:pt>
                <c:pt idx="1">
                  <c:v>3.4629629629629628</c:v>
                </c:pt>
                <c:pt idx="2">
                  <c:v>3.3650793650793647</c:v>
                </c:pt>
                <c:pt idx="3">
                  <c:v>3.6203703703703698</c:v>
                </c:pt>
                <c:pt idx="4">
                  <c:v>3.51620370370370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EF-4183-AF82-6C6A3BB9C94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919086255"/>
        <c:axId val="1941330159"/>
      </c:barChart>
      <c:catAx>
        <c:axId val="1919086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1330159"/>
        <c:crosses val="autoZero"/>
        <c:auto val="1"/>
        <c:lblAlgn val="ctr"/>
        <c:lblOffset val="100"/>
        <c:noMultiLvlLbl val="0"/>
      </c:catAx>
      <c:valAx>
        <c:axId val="194133015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90862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4</c:f>
              <c:strCache>
                <c:ptCount val="1"/>
                <c:pt idx="0">
                  <c:v>District Overal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4:$T$54</c:f>
              <c:numCache>
                <c:formatCode>General</c:formatCode>
                <c:ptCount val="6"/>
                <c:pt idx="0">
                  <c:v>76</c:v>
                </c:pt>
                <c:pt idx="1">
                  <c:v>118</c:v>
                </c:pt>
                <c:pt idx="2">
                  <c:v>78</c:v>
                </c:pt>
                <c:pt idx="3">
                  <c:v>32</c:v>
                </c:pt>
                <c:pt idx="4">
                  <c:v>26</c:v>
                </c:pt>
                <c:pt idx="5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EA-4FA1-9B24-41232AC9F29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2</c:f>
              <c:strCache>
                <c:ptCount val="1"/>
                <c:pt idx="0">
                  <c:v>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2:$P$2</c:f>
              <c:numCache>
                <c:formatCode>0.0</c:formatCode>
                <c:ptCount val="5"/>
                <c:pt idx="0">
                  <c:v>4.666666666666667</c:v>
                </c:pt>
                <c:pt idx="1">
                  <c:v>4.375</c:v>
                </c:pt>
                <c:pt idx="2">
                  <c:v>4.55</c:v>
                </c:pt>
                <c:pt idx="3">
                  <c:v>3.7777777777777777</c:v>
                </c:pt>
                <c:pt idx="4">
                  <c:v>3.333333333333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A0-4DDE-9009-3E118D5E5E26}"/>
            </c:ext>
          </c:extLst>
        </c:ser>
        <c:ser>
          <c:idx val="1"/>
          <c:order val="1"/>
          <c:tx>
            <c:strRef>
              <c:f>'Numeric pivot'!$K$3</c:f>
              <c:strCache>
                <c:ptCount val="1"/>
                <c:pt idx="0">
                  <c:v>AS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3:$P$3</c:f>
              <c:numCache>
                <c:formatCode>0.0</c:formatCode>
                <c:ptCount val="5"/>
                <c:pt idx="0">
                  <c:v>4.333333333333333</c:v>
                </c:pt>
                <c:pt idx="1">
                  <c:v>3.8</c:v>
                </c:pt>
                <c:pt idx="2">
                  <c:v>3.5</c:v>
                </c:pt>
                <c:pt idx="3">
                  <c:v>3.3333333333333335</c:v>
                </c:pt>
                <c:pt idx="4">
                  <c:v>3.69444444444444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A0-4DDE-9009-3E118D5E5E26}"/>
            </c:ext>
          </c:extLst>
        </c:ser>
        <c:ser>
          <c:idx val="2"/>
          <c:order val="2"/>
          <c:tx>
            <c:strRef>
              <c:f>'Numeric pivot'!$K$4</c:f>
              <c:strCache>
                <c:ptCount val="1"/>
                <c:pt idx="0">
                  <c:v>IP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4:$P$4</c:f>
              <c:numCache>
                <c:formatCode>0.0</c:formatCode>
                <c:ptCount val="5"/>
                <c:pt idx="0">
                  <c:v>4</c:v>
                </c:pt>
                <c:pt idx="1">
                  <c:v>4</c:v>
                </c:pt>
                <c:pt idx="2">
                  <c:v>4.166666666666667</c:v>
                </c:pt>
                <c:pt idx="3">
                  <c:v>3.3333333333333335</c:v>
                </c:pt>
                <c:pt idx="4">
                  <c:v>3.3939393939393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A0-4DDE-9009-3E118D5E5E26}"/>
            </c:ext>
          </c:extLst>
        </c:ser>
        <c:ser>
          <c:idx val="3"/>
          <c:order val="3"/>
          <c:tx>
            <c:strRef>
              <c:f>'Numeric pivot'!$K$5</c:f>
              <c:strCache>
                <c:ptCount val="1"/>
                <c:pt idx="0">
                  <c:v>SSP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:$P$5</c:f>
              <c:numCache>
                <c:formatCode>0.0</c:formatCode>
                <c:ptCount val="5"/>
                <c:pt idx="0">
                  <c:v>4.333333333333333</c:v>
                </c:pt>
                <c:pt idx="1">
                  <c:v>3.9333333333333331</c:v>
                </c:pt>
                <c:pt idx="2">
                  <c:v>4.117647058823529</c:v>
                </c:pt>
                <c:pt idx="3">
                  <c:v>3.5555555555555554</c:v>
                </c:pt>
                <c:pt idx="4">
                  <c:v>3.485714285714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A0-4DDE-9009-3E118D5E5E26}"/>
            </c:ext>
          </c:extLst>
        </c:ser>
        <c:ser>
          <c:idx val="4"/>
          <c:order val="4"/>
          <c:tx>
            <c:strRef>
              <c:f>'Numeric pivot'!$K$6</c:f>
              <c:strCache>
                <c:ptCount val="1"/>
                <c:pt idx="0">
                  <c:v>Academic Senat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6:$P$6</c:f>
              <c:numCache>
                <c:formatCode>0.0</c:formatCode>
                <c:ptCount val="5"/>
                <c:pt idx="0">
                  <c:v>3.3333333333333335</c:v>
                </c:pt>
                <c:pt idx="1">
                  <c:v>3.5</c:v>
                </c:pt>
                <c:pt idx="2">
                  <c:v>4.8499999999999996</c:v>
                </c:pt>
                <c:pt idx="3">
                  <c:v>4</c:v>
                </c:pt>
                <c:pt idx="4">
                  <c:v>3.48571428571428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A0-4DDE-9009-3E118D5E5E26}"/>
            </c:ext>
          </c:extLst>
        </c:ser>
        <c:ser>
          <c:idx val="5"/>
          <c:order val="5"/>
          <c:tx>
            <c:strRef>
              <c:f>'Numeric pivot'!$K$7</c:f>
              <c:strCache>
                <c:ptCount val="1"/>
                <c:pt idx="0">
                  <c:v>Classified Senat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7:$P$7</c:f>
              <c:numCache>
                <c:formatCode>0.0</c:formatCode>
                <c:ptCount val="5"/>
                <c:pt idx="0">
                  <c:v>4</c:v>
                </c:pt>
                <c:pt idx="1">
                  <c:v>4.125</c:v>
                </c:pt>
                <c:pt idx="2">
                  <c:v>3.5625</c:v>
                </c:pt>
                <c:pt idx="3">
                  <c:v>3.4444444444444446</c:v>
                </c:pt>
                <c:pt idx="4">
                  <c:v>3.2352941176470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AA0-4DDE-9009-3E118D5E5E26}"/>
            </c:ext>
          </c:extLst>
        </c:ser>
        <c:ser>
          <c:idx val="6"/>
          <c:order val="6"/>
          <c:tx>
            <c:strRef>
              <c:f>'Numeric pivot'!$K$8</c:f>
              <c:strCache>
                <c:ptCount val="1"/>
                <c:pt idx="0">
                  <c:v>GP Steering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8:$P$8</c:f>
              <c:numCache>
                <c:formatCode>0.0</c:formatCode>
                <c:ptCount val="5"/>
                <c:pt idx="0">
                  <c:v>4.666666666666667</c:v>
                </c:pt>
                <c:pt idx="1">
                  <c:v>3.2142857142857144</c:v>
                </c:pt>
                <c:pt idx="2">
                  <c:v>3.4117647058823528</c:v>
                </c:pt>
                <c:pt idx="3">
                  <c:v>3.375</c:v>
                </c:pt>
                <c:pt idx="4">
                  <c:v>3.3714285714285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AA0-4DDE-9009-3E118D5E5E26}"/>
            </c:ext>
          </c:extLst>
        </c:ser>
        <c:ser>
          <c:idx val="7"/>
          <c:order val="7"/>
          <c:tx>
            <c:strRef>
              <c:f>'Numeric pivot'!$K$9</c:f>
              <c:strCache>
                <c:ptCount val="1"/>
                <c:pt idx="0">
                  <c:v>College committee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Numeric pivot'!$L$1:$P$1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9:$P$9</c:f>
              <c:numCache>
                <c:formatCode>0.0</c:formatCode>
                <c:ptCount val="5"/>
                <c:pt idx="0">
                  <c:v>4</c:v>
                </c:pt>
                <c:pt idx="1">
                  <c:v>2.8333333333333335</c:v>
                </c:pt>
                <c:pt idx="2">
                  <c:v>3.8</c:v>
                </c:pt>
                <c:pt idx="3">
                  <c:v>3</c:v>
                </c:pt>
                <c:pt idx="4">
                  <c:v>3.37931034482758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AA0-4DDE-9009-3E118D5E5E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79183487"/>
        <c:axId val="1003599599"/>
      </c:barChart>
      <c:catAx>
        <c:axId val="879183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03599599"/>
        <c:crosses val="autoZero"/>
        <c:auto val="1"/>
        <c:lblAlgn val="ctr"/>
        <c:lblOffset val="100"/>
        <c:noMultiLvlLbl val="0"/>
      </c:catAx>
      <c:valAx>
        <c:axId val="1003599599"/>
        <c:scaling>
          <c:orientation val="minMax"/>
          <c:max val="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79183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Numeric pivot'!$K$55</c:f>
              <c:strCache>
                <c:ptCount val="1"/>
                <c:pt idx="0">
                  <c:v>I am aware of SMCCCD policies and procedur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5:$P$55</c:f>
              <c:numCache>
                <c:formatCode>0.0</c:formatCode>
                <c:ptCount val="5"/>
                <c:pt idx="0">
                  <c:v>4.666666666666667</c:v>
                </c:pt>
                <c:pt idx="1">
                  <c:v>3.9444444444444446</c:v>
                </c:pt>
                <c:pt idx="2">
                  <c:v>3.5714285714285716</c:v>
                </c:pt>
                <c:pt idx="3">
                  <c:v>4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B6-40CB-98EB-6A6203BA6531}"/>
            </c:ext>
          </c:extLst>
        </c:ser>
        <c:ser>
          <c:idx val="1"/>
          <c:order val="1"/>
          <c:tx>
            <c:strRef>
              <c:f>'Numeric pivot'!$K$56</c:f>
              <c:strCache>
                <c:ptCount val="1"/>
                <c:pt idx="0">
                  <c:v>The District procedures for hiring full-time, permanent employees are clearly communicated.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6:$P$56</c:f>
              <c:numCache>
                <c:formatCode>0.0</c:formatCode>
                <c:ptCount val="5"/>
                <c:pt idx="0">
                  <c:v>4.666666666666667</c:v>
                </c:pt>
                <c:pt idx="1">
                  <c:v>3.5882352941176472</c:v>
                </c:pt>
                <c:pt idx="2">
                  <c:v>3.6875</c:v>
                </c:pt>
                <c:pt idx="3">
                  <c:v>4</c:v>
                </c:pt>
                <c:pt idx="4">
                  <c:v>3.5862068965517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B6-40CB-98EB-6A6203BA6531}"/>
            </c:ext>
          </c:extLst>
        </c:ser>
        <c:ser>
          <c:idx val="2"/>
          <c:order val="2"/>
          <c:tx>
            <c:strRef>
              <c:f>'Numeric pivot'!$K$57</c:f>
              <c:strCache>
                <c:ptCount val="1"/>
                <c:pt idx="0">
                  <c:v>District planning and evaluation are integrated with college planning and evaluation to improve student learning and achievement.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7:$P$57</c:f>
              <c:numCache>
                <c:formatCode>0.0</c:formatCode>
                <c:ptCount val="5"/>
                <c:pt idx="0">
                  <c:v>4.666666666666667</c:v>
                </c:pt>
                <c:pt idx="1">
                  <c:v>3.3333333333333335</c:v>
                </c:pt>
                <c:pt idx="2">
                  <c:v>3.263157894736842</c:v>
                </c:pt>
                <c:pt idx="3">
                  <c:v>3.5555555555555554</c:v>
                </c:pt>
                <c:pt idx="4">
                  <c:v>3.61111111111111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B6-40CB-98EB-6A6203BA6531}"/>
            </c:ext>
          </c:extLst>
        </c:ser>
        <c:ser>
          <c:idx val="3"/>
          <c:order val="3"/>
          <c:tx>
            <c:strRef>
              <c:f>'Numeric pivot'!$K$58</c:f>
              <c:strCache>
                <c:ptCount val="1"/>
                <c:pt idx="0">
                  <c:v>There are clear divisions of authority between the District Office, the Board of Trustees, and Cañada College.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umeric pivot'!$L$54:$P$54</c:f>
              <c:strCache>
                <c:ptCount val="5"/>
                <c:pt idx="0">
                  <c:v>Administrator</c:v>
                </c:pt>
                <c:pt idx="1">
                  <c:v>Classified Staff or Manager/Supervisor</c:v>
                </c:pt>
                <c:pt idx="2">
                  <c:v>Faculty (full time)</c:v>
                </c:pt>
                <c:pt idx="3">
                  <c:v>Faculty (part time)</c:v>
                </c:pt>
                <c:pt idx="4">
                  <c:v>Student</c:v>
                </c:pt>
              </c:strCache>
            </c:strRef>
          </c:cat>
          <c:val>
            <c:numRef>
              <c:f>'Numeric pivot'!$L$58:$P$58</c:f>
              <c:numCache>
                <c:formatCode>0.0</c:formatCode>
                <c:ptCount val="5"/>
                <c:pt idx="0">
                  <c:v>3.3333333333333335</c:v>
                </c:pt>
                <c:pt idx="1">
                  <c:v>3.0555555555555554</c:v>
                </c:pt>
                <c:pt idx="2">
                  <c:v>3.15</c:v>
                </c:pt>
                <c:pt idx="3">
                  <c:v>3.3333333333333335</c:v>
                </c:pt>
                <c:pt idx="4">
                  <c:v>3.55555555555555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5B6-40CB-98EB-6A6203BA653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22149039"/>
        <c:axId val="1955502943"/>
      </c:barChart>
      <c:catAx>
        <c:axId val="2022149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55502943"/>
        <c:crosses val="autoZero"/>
        <c:auto val="1"/>
        <c:lblAlgn val="ctr"/>
        <c:lblOffset val="100"/>
        <c:noMultiLvlLbl val="0"/>
      </c:catAx>
      <c:valAx>
        <c:axId val="1955502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22149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0</c:f>
              <c:strCache>
                <c:ptCount val="1"/>
                <c:pt idx="0">
                  <c:v>I am aware of SMCCCD policies and procedures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0:$T$50</c:f>
              <c:numCache>
                <c:formatCode>General</c:formatCode>
                <c:ptCount val="6"/>
                <c:pt idx="0">
                  <c:v>22</c:v>
                </c:pt>
                <c:pt idx="1">
                  <c:v>42</c:v>
                </c:pt>
                <c:pt idx="2">
                  <c:v>9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E8-4844-8D9B-3F44916E9D7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1</c:f>
              <c:strCache>
                <c:ptCount val="1"/>
                <c:pt idx="0">
                  <c:v>The District procedures for hiring full-time, permanent employees are clearly communicated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1:$T$51</c:f>
              <c:numCache>
                <c:formatCode>General</c:formatCode>
                <c:ptCount val="6"/>
                <c:pt idx="0">
                  <c:v>20</c:v>
                </c:pt>
                <c:pt idx="1">
                  <c:v>24</c:v>
                </c:pt>
                <c:pt idx="2">
                  <c:v>19</c:v>
                </c:pt>
                <c:pt idx="3">
                  <c:v>4</c:v>
                </c:pt>
                <c:pt idx="4">
                  <c:v>5</c:v>
                </c:pt>
                <c:pt idx="5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EB-4134-8DE8-D02BAAF72D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2</c:f>
              <c:strCache>
                <c:ptCount val="1"/>
                <c:pt idx="0">
                  <c:v>District planning and evaluation are integrated with college planning and evaluation to improve student learning and achievement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2:$T$52</c:f>
              <c:numCache>
                <c:formatCode>General</c:formatCode>
                <c:ptCount val="6"/>
                <c:pt idx="0">
                  <c:v>17</c:v>
                </c:pt>
                <c:pt idx="1">
                  <c:v>29</c:v>
                </c:pt>
                <c:pt idx="2">
                  <c:v>25</c:v>
                </c:pt>
                <c:pt idx="3">
                  <c:v>8</c:v>
                </c:pt>
                <c:pt idx="4">
                  <c:v>6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AC-4487-A400-348761538EA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3</c:f>
              <c:strCache>
                <c:ptCount val="1"/>
                <c:pt idx="0">
                  <c:v>There are clear divisions of authority between the District Office, the Board of Trustees, and Cañada College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49:$T$49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3:$T$53</c:f>
              <c:numCache>
                <c:formatCode>General</c:formatCode>
                <c:ptCount val="6"/>
                <c:pt idx="0">
                  <c:v>17</c:v>
                </c:pt>
                <c:pt idx="1">
                  <c:v>23</c:v>
                </c:pt>
                <c:pt idx="2">
                  <c:v>25</c:v>
                </c:pt>
                <c:pt idx="3">
                  <c:v>13</c:v>
                </c:pt>
                <c:pt idx="4">
                  <c:v>8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64-4F92-9502-C949CD9557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741335696"/>
        <c:axId val="1645320544"/>
      </c:barChart>
      <c:catAx>
        <c:axId val="1741335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320544"/>
        <c:crosses val="autoZero"/>
        <c:auto val="1"/>
        <c:lblAlgn val="ctr"/>
        <c:lblOffset val="100"/>
        <c:noMultiLvlLbl val="0"/>
      </c:catAx>
      <c:valAx>
        <c:axId val="164532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41335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3</c:f>
              <c:strCache>
                <c:ptCount val="1"/>
                <c:pt idx="0">
                  <c:v>Information on PB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3:$T$3</c:f>
              <c:numCache>
                <c:formatCode>General</c:formatCode>
                <c:ptCount val="6"/>
                <c:pt idx="0">
                  <c:v>39</c:v>
                </c:pt>
                <c:pt idx="1">
                  <c:v>15</c:v>
                </c:pt>
                <c:pt idx="2">
                  <c:v>19</c:v>
                </c:pt>
                <c:pt idx="3">
                  <c:v>6</c:v>
                </c:pt>
                <c:pt idx="4">
                  <c:v>5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89-4ADB-BCBA-4742073FBCE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0193232"/>
        <c:axId val="1639609232"/>
      </c:barChart>
      <c:catAx>
        <c:axId val="1640193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9232"/>
        <c:crosses val="autoZero"/>
        <c:auto val="1"/>
        <c:lblAlgn val="ctr"/>
        <c:lblOffset val="100"/>
        <c:noMultiLvlLbl val="0"/>
      </c:catAx>
      <c:valAx>
        <c:axId val="1639609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01932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4</c:f>
              <c:strCache>
                <c:ptCount val="1"/>
                <c:pt idx="0">
                  <c:v>Information on ASC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4:$T$4</c:f>
              <c:numCache>
                <c:formatCode>General</c:formatCode>
                <c:ptCount val="6"/>
                <c:pt idx="0">
                  <c:v>29</c:v>
                </c:pt>
                <c:pt idx="1">
                  <c:v>12</c:v>
                </c:pt>
                <c:pt idx="2">
                  <c:v>27</c:v>
                </c:pt>
                <c:pt idx="3">
                  <c:v>9</c:v>
                </c:pt>
                <c:pt idx="4">
                  <c:v>4</c:v>
                </c:pt>
                <c:pt idx="5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60-4188-ABFD-21789416EFB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75008"/>
        <c:axId val="1569501552"/>
      </c:barChart>
      <c:catAx>
        <c:axId val="164547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9501552"/>
        <c:crosses val="autoZero"/>
        <c:auto val="1"/>
        <c:lblAlgn val="ctr"/>
        <c:lblOffset val="100"/>
        <c:noMultiLvlLbl val="0"/>
      </c:catAx>
      <c:valAx>
        <c:axId val="1569501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7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5</c:f>
              <c:strCache>
                <c:ptCount val="1"/>
                <c:pt idx="0">
                  <c:v>Information on I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5:$T$5</c:f>
              <c:numCache>
                <c:formatCode>General</c:formatCode>
                <c:ptCount val="6"/>
                <c:pt idx="0">
                  <c:v>32</c:v>
                </c:pt>
                <c:pt idx="1">
                  <c:v>9</c:v>
                </c:pt>
                <c:pt idx="2">
                  <c:v>25</c:v>
                </c:pt>
                <c:pt idx="3">
                  <c:v>6</c:v>
                </c:pt>
                <c:pt idx="4">
                  <c:v>6</c:v>
                </c:pt>
                <c:pt idx="5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71-422C-A89D-34F7B00D058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urvye pivot'!$N$6</c:f>
              <c:strCache>
                <c:ptCount val="1"/>
                <c:pt idx="0">
                  <c:v>Information on SSPC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urvye pivot'!$O$2:$T$2</c:f>
              <c:strCache>
                <c:ptCount val="6"/>
                <c:pt idx="0">
                  <c:v>Strongly agree</c:v>
                </c:pt>
                <c:pt idx="1">
                  <c:v>Somewhat agree</c:v>
                </c:pt>
                <c:pt idx="2">
                  <c:v>Neither agree nor disagree</c:v>
                </c:pt>
                <c:pt idx="3">
                  <c:v>Somewhat disagree</c:v>
                </c:pt>
                <c:pt idx="4">
                  <c:v>Strongly disagree</c:v>
                </c:pt>
                <c:pt idx="5">
                  <c:v>Blank</c:v>
                </c:pt>
              </c:strCache>
            </c:strRef>
          </c:cat>
          <c:val>
            <c:numRef>
              <c:f>'Survye pivot'!$O$6:$T$6</c:f>
              <c:numCache>
                <c:formatCode>General</c:formatCode>
                <c:ptCount val="6"/>
                <c:pt idx="0">
                  <c:v>31</c:v>
                </c:pt>
                <c:pt idx="1">
                  <c:v>13</c:v>
                </c:pt>
                <c:pt idx="2">
                  <c:v>25</c:v>
                </c:pt>
                <c:pt idx="3">
                  <c:v>4</c:v>
                </c:pt>
                <c:pt idx="4">
                  <c:v>6</c:v>
                </c:pt>
                <c:pt idx="5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9F-41F5-AC5D-2AAF8361ABF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45465008"/>
        <c:axId val="1639607152"/>
      </c:barChart>
      <c:catAx>
        <c:axId val="16454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39607152"/>
        <c:crosses val="autoZero"/>
        <c:auto val="1"/>
        <c:lblAlgn val="ctr"/>
        <c:lblOffset val="100"/>
        <c:noMultiLvlLbl val="0"/>
      </c:catAx>
      <c:valAx>
        <c:axId val="163960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4546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4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183123-2252-44BD-85E4-B50F3D494B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35853C-1E49-434B-804D-B18AF24760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33C1CD-701F-4841-9E3F-883D6EE87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DBB7C7-FA06-41D9-8D0C-52E1CC60B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A97E88-A48E-4F77-BE9C-821A53C52F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234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FC97FF-305E-46F7-A2A7-9E1D02E50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6CAC66-9BF8-4CD4-A6D5-ECD637FB56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A51F47-C00C-4D0F-A7D3-BDD2934C4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2E01DB-2CC7-48E3-90AE-E21C38437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15C430-CC77-4903-8ACC-A51A07265D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806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EFFCD5C-58DA-4CDF-83FD-87A159E11EF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6839E09-8ABD-4D68-9B92-104D8B7203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47D63B-6C5E-41D3-BB04-FFCEDE5DE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121BE-5170-497E-BC6C-221CBB98A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FF71B7-EE93-4910-8806-C98B098EB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9001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60B0C-4469-4206-A185-5ACFF6663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9C9B77-B163-4A9F-ABF6-32038CDB9D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F12C59-7D5F-4D04-942D-353277A1EA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6F09FC-8A25-4E79-B857-047E88CE9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4FE813-70A0-43E7-B108-A99D00FFB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81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ABF3A8-07B0-4715-87FF-7CA1BAE0E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D85226-18E9-4A33-A20A-0DC4F1F765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386544-05FB-494C-A89C-3E1F173A42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D5170C-3FC0-41E4-950E-399030E593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92C317-B7A8-4EDD-877F-87FEC6058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270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253CE-71BA-4364-83C6-68205A813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E75EC-D4F1-4D23-BF61-4846841D5F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BE367C-CF73-45AB-AAC5-97D44386B1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4A8941-A66C-4495-B8FD-77D797CE0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346850E-4FBB-4286-994B-5408A9130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EE52EF7-406F-4FB7-A93D-B9FB2218A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213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3E962-E045-4B8A-977B-3E8063FA7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9F9143-A225-47A6-AF85-3EF3DDCA8C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E7012A-4D8C-4947-8736-D580C4D29D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453665-A399-4C4F-B205-25063304609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8E0A01-EC75-478F-97DE-92FC59B50F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476439-520B-4860-AADD-685E7A06F7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BCB8CDF-C18B-4DBD-B7CE-25CAB6472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69552E-1CB6-47A0-B8ED-785EFE2E15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59461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1BB46-0790-400D-98CC-7B15204B0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FCBEB19-7F32-4FA3-AF63-07E7121C3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30D0BC-B8D3-4F5B-B334-C318E59620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ED74525-129F-483A-955B-E8A194579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531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39612-CD83-401D-A949-36A96D444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27C888-C9D5-4CBD-8B30-BAA00E36A4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60E125-7219-403B-B2D5-D1A1B6083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606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577476-DE32-414C-B6FF-37DB67FE4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6C72E9-5D4B-4D2A-A7CA-740FEF1176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49202-517C-4C38-BE92-0397128822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4D60E7-5777-42AB-8917-087AA02596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F914278-F311-4BF7-91E9-B048A51B3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F36351-E904-4D90-B059-0A901F8D6D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2352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602288-F138-4140-B23E-827384386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9826D76-0DF8-4B77-9D97-7003E3B9C1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463CAB-CEAA-45B8-ABBF-BF2F759D3F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3EEE5B-1C35-4BF8-AD91-F56FC0DC5D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A24FC6-AAC7-4A40-A813-3890B826E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47A53A-FF42-4C31-923B-D35D1A458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494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677F792-2640-4B66-A4F6-FE88646F7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8C9BE9-51A1-418C-A7DE-4475C9B31C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8EB61A-40D4-4EEA-BE75-652ED23BFD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E57BF9-D9A5-4DE1-B542-132721A380B3}" type="datetimeFigureOut">
              <a:rPr lang="en-US" smtClean="0"/>
              <a:t>5/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A87AE-2295-40FF-BA9D-92B427BC9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92115-52B3-47D3-8AF6-CECB5B1D0A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38F5A3-2973-4008-9123-5D8932F5A3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056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1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3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9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1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3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A8D85-A663-420E-A5E7-CA53604AC2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0716"/>
            <a:ext cx="9144000" cy="2387600"/>
          </a:xfrm>
        </p:spPr>
        <p:txBody>
          <a:bodyPr>
            <a:normAutofit/>
          </a:bodyPr>
          <a:lstStyle/>
          <a:p>
            <a:r>
              <a:rPr lang="en-US" dirty="0"/>
              <a:t>Participatory Governance Survey 2020-2021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FB4CE-7771-4913-BC5C-EE2C6DC18F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70391"/>
            <a:ext cx="9144000" cy="1655762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Analysis of Spring 2021 campus-wide survey results prepared by Alex Claxton, Research Analyst</a:t>
            </a:r>
          </a:p>
          <a:p>
            <a:r>
              <a:rPr lang="en-US" dirty="0"/>
              <a:t>Office of Planning, Research &amp; Institutional Effectiveness (PRIE)</a:t>
            </a:r>
          </a:p>
          <a:p>
            <a:endParaRPr lang="en-US" dirty="0"/>
          </a:p>
          <a:p>
            <a:r>
              <a:rPr lang="en-US" dirty="0"/>
              <a:t>Presented to the Planning and Budgeting Council (PBC)</a:t>
            </a:r>
          </a:p>
          <a:p>
            <a:r>
              <a:rPr lang="en-US" dirty="0"/>
              <a:t>May 5, 2021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3761" y="463471"/>
            <a:ext cx="2524477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0558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25C0E1-687D-4D06-8F70-4BBBB28317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9255585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26441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7964DE0-15F0-4EF6-8AD3-6A846A52033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6698596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28833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9DC592-FBBC-4C44-B851-B8AA549809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1028634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40411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C27DD1A-62AD-4996-9961-D93A812F1B3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200934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221434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B5067C4-36A2-44F8-837C-153DFA743E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1137093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507758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E87AAE5-7091-41C9-A1D7-AD2C9D1D9EF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125195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840546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EB2464C-45AC-4DDC-8EF2-A9D7CB35A8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640410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35840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CEB719-3374-4616-BC89-DE1EB477A6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Comfort with Recording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233A7C7-E8BA-4884-8F3D-ABC174DB514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4156602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219972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DCFC4C4-F836-4D18-B5C4-298E6FD9DE0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41217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565683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9D65E-4F07-4564-A3C7-6D2B56C79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fort with Record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1059C47-8BA5-4B26-939C-0240148061C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914235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742739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214F0-12F1-42B6-AAB8-0004F7E1A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se r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5EF3CD-B040-4A27-A855-DE26B1AEBB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156 People started the survey</a:t>
            </a:r>
          </a:p>
          <a:p>
            <a:pPr lvl="1"/>
            <a:r>
              <a:rPr lang="en-US" dirty="0"/>
              <a:t>Non-completer by Constituency</a:t>
            </a:r>
          </a:p>
          <a:p>
            <a:pPr lvl="2"/>
            <a:r>
              <a:rPr lang="en-US" dirty="0"/>
              <a:t>5 Classified Staff or Manager/Supervisor</a:t>
            </a:r>
          </a:p>
          <a:p>
            <a:pPr lvl="2"/>
            <a:r>
              <a:rPr lang="en-US" dirty="0"/>
              <a:t>4 Faculty</a:t>
            </a:r>
          </a:p>
          <a:p>
            <a:pPr lvl="2"/>
            <a:r>
              <a:rPr lang="en-US" dirty="0"/>
              <a:t>56 students</a:t>
            </a:r>
          </a:p>
          <a:p>
            <a:r>
              <a:rPr lang="en-US" dirty="0"/>
              <a:t>88 surveys completed</a:t>
            </a:r>
          </a:p>
          <a:p>
            <a:pPr lvl="1"/>
            <a:r>
              <a:rPr lang="en-US" dirty="0"/>
              <a:t>Nearly double from last year</a:t>
            </a:r>
          </a:p>
          <a:p>
            <a:pPr lvl="1"/>
            <a:r>
              <a:rPr lang="en-US" dirty="0"/>
              <a:t>Student participation increased 1,100%</a:t>
            </a:r>
          </a:p>
          <a:p>
            <a:pPr lvl="1"/>
            <a:r>
              <a:rPr lang="en-US" dirty="0"/>
              <a:t>1 partial completer included</a:t>
            </a:r>
          </a:p>
        </p:txBody>
      </p:sp>
    </p:spTree>
    <p:extLst>
      <p:ext uri="{BB962C8B-B14F-4D97-AF65-F5344CB8AC3E}">
        <p14:creationId xmlns:p14="http://schemas.microsoft.com/office/powerpoint/2010/main" val="19257158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9D65E-4F07-4564-A3C7-6D2B56C791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fort with Record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8220530-1019-4AF6-8953-A10A255B22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8422783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3273562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5425AD4-737F-4C0C-87F8-DA207B3182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559009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337374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B811207-062E-4EC3-9968-132A75DDCE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287221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049748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2B3F0C3-FB77-4461-8A64-A4B404586E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861317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52887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84DC7D7-ABAB-453B-8076-812DFD2B7A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487925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189630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D9C0156-30F9-4D45-AA29-63FCD1F28E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364227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464076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47DD147-401B-4EEC-AF8A-F0D22E16BD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373451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9096543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B1BEC95-7650-46E7-A4AF-94D2658F984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437260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7955204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485E40A-9816-44DE-8900-5EA2D488EF8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334602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720593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164FEA-35B4-49FD-95FB-4BEF965D8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articipatory Governa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F8F7223-4CF1-4E6E-91FF-DAAC74199EA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5446429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619365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ey Question Sca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ost questions had participants rank from Strongly Agree (5) to Strongly Disagree (1)</a:t>
            </a:r>
          </a:p>
          <a:p>
            <a:endParaRPr lang="en-US" dirty="0"/>
          </a:p>
          <a:p>
            <a:r>
              <a:rPr lang="en-US" dirty="0"/>
              <a:t>When looking at averages, the more intense the agreement/disagreement the further the average will be from 3</a:t>
            </a:r>
          </a:p>
          <a:p>
            <a:endParaRPr lang="en-US" dirty="0"/>
          </a:p>
          <a:p>
            <a:r>
              <a:rPr lang="en-US" dirty="0"/>
              <a:t>3-4 indicates general moderate agreement (2-3 general moderate disagreement)</a:t>
            </a:r>
          </a:p>
          <a:p>
            <a:endParaRPr lang="en-US" dirty="0"/>
          </a:p>
          <a:p>
            <a:r>
              <a:rPr lang="en-US" dirty="0"/>
              <a:t>4-5 indicates general strong agreement (1-2 strong disagreement)</a:t>
            </a:r>
          </a:p>
        </p:txBody>
      </p:sp>
    </p:spTree>
    <p:extLst>
      <p:ext uri="{BB962C8B-B14F-4D97-AF65-F5344CB8AC3E}">
        <p14:creationId xmlns:p14="http://schemas.microsoft.com/office/powerpoint/2010/main" val="11420536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A3DB6FD-BD82-49D5-B236-7FBFAEEE78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968914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0174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29BCB43-D77F-4642-9681-94F2E59E16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044382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365883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DCD92D-54CC-4209-B6EA-54AD010BF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Participatory Governanc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9CA6B3C-65FD-4D9C-BFB9-7BBBED530D83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012670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E1367C6-0F68-4C32-BE0A-9BBAAC665EF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7841479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C04581-A96B-4CDF-B543-FABBE1C32C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Review Overall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51EDA0E-C07C-497C-A87F-C3F3CD6C73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64993018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5978447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CC18BF8-E7F6-4A1C-AF1C-4808D4915DD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0004336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74572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367F6-9C55-47D7-9D60-CB8BB5008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Review detail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E2A2366-0C49-4E64-AF9B-43F9A6BF15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4567377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83030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ED76A69-B04F-44ED-B87A-00D16C2C1DC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411925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9644706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BA30551-79E1-435F-8A73-026D3DFD829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463111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083559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9291CEE-6154-462D-9DCC-9BF86FE966E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988518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36339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79DFF-0BFD-40BD-8E90-D003A937D3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ondent Constituency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261CC99-6936-4C29-A647-DEADF0B6F52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061291"/>
              </p:ext>
            </p:extLst>
          </p:nvPr>
        </p:nvGraphicFramePr>
        <p:xfrm>
          <a:off x="838200" y="2141537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3545299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A8A0636-2630-4211-BD0F-FD97B623AD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5359233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485676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BEBCE7-3034-4B3C-AEDC-DEA74BA51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dget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083121C-BB22-4BE6-BB25-B43EDAC2954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8044161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636273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24334A6-3AAE-4901-B151-9C831DAA0B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39053478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1818591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1EF7123-2DF1-48F7-A863-9918C73E9E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857342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44535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3B7DE26-9EEE-4F74-B612-83E2C6D13C6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253154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549753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3E4A0-A308-47FE-BB41-92C7473E06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ege Goal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FC403C53-2B19-441F-887D-6E0A55E1CBB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4635495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19543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02BD9F41-3313-4CA9-B315-3779CD8CC6A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95281165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998768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AEA71B-C1E9-4BFF-A137-721FD05CB2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n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766C12DA-ED02-4534-8A9B-0688CC5BEF8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3841904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2387920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680217E-937C-4128-A242-6A883EF410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2169346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0701626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BF8FBC-5463-44AF-88CE-E273D0E0B9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9093371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102307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43ED9-030C-4291-897F-CB5AD40E1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Information on Meeting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08A5FAE5-D152-4FE8-8074-E6493DEDBFEB}"/>
              </a:ext>
            </a:extLst>
          </p:cNvPr>
          <p:cNvGraphicFramePr>
            <a:graphicFrameLocks noGrp="1"/>
          </p:cNvGraphicFramePr>
          <p:nvPr>
            <p:ph idx="1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587576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8415616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3431A46-ED65-4BD2-B29C-94DCAE1731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329033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6459583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385576-939C-411A-A5E1-959C492C8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District Proced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47ED8D6-CF6D-4ACB-B9E6-972E602DFDE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4298617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2037280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21F75AC-542D-430D-9B30-294F543FEE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48453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930321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E8434-C3D9-41E0-9EC7-01B498A94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trict Proced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CDC415B-647A-43C1-A275-B6D1FA4163D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8435831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6178226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739DA26-D42C-4F1C-B878-51BB503E9B2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15182927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3683086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CB8DDB7-4A02-46E3-A630-49562F9A68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7825154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3180659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A2B91CC-CEEA-4D4D-95E3-BF9F24DE4E0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80045162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115718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D6E2D478-F739-498C-96CF-EF51DBE8DE8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6864981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194771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7ED1173-6E05-4935-996F-71204B57C3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7540226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044971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B5204-061A-4587-BB27-48E93FD1C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on Meeting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41FCE91-03A7-4411-AB75-B7BC3D5D1AE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63397650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9828507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B5204-061A-4587-BB27-48E93FD1C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formation on Meeting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19C0705-624E-48CA-BB76-69F046A7E4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77109875"/>
              </p:ext>
            </p:extLst>
          </p:nvPr>
        </p:nvGraphicFramePr>
        <p:xfrm>
          <a:off x="838200" y="1825625"/>
          <a:ext cx="10515600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452105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D329A4E6-C7DB-41CA-8D9E-4279A2752E1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59694080"/>
              </p:ext>
            </p:extLst>
          </p:nvPr>
        </p:nvGraphicFramePr>
        <p:xfrm>
          <a:off x="838200" y="336550"/>
          <a:ext cx="10515600" cy="5840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3203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9E8D3D91-953B-4EEC-9A5C-A6CC6A43B356&quot;,&quot;SourceFullName&quot;:&quot;https://smccd-my.sharepoint.com/personal/claxtona_smccd_edu/Documents/Participatory gov/Participatory Governance survey 20-21/Cañada College Participatory Governance Evaluation Survey 2021_March 30, 2021_15.43.xlsx&quot;,&quot;LastUpdate&quot;:&quot;2021-05-03 3:36 PM&quot;,&quot;UpdatedBy&quot;:&quot;engelk&quot;,&quot;IsLinked&quot;:false,&quot;IsBrokenLink&quot;:false}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9277844F7A8C478CA68C2A9601237C" ma:contentTypeVersion="9" ma:contentTypeDescription="Create a new document." ma:contentTypeScope="" ma:versionID="ba890bc1cad1560c7d6e6af833f557a8">
  <xsd:schema xmlns:xsd="http://www.w3.org/2001/XMLSchema" xmlns:xs="http://www.w3.org/2001/XMLSchema" xmlns:p="http://schemas.microsoft.com/office/2006/metadata/properties" xmlns:ns3="c805d591-5adc-479f-b430-a504985d0a67" targetNamespace="http://schemas.microsoft.com/office/2006/metadata/properties" ma:root="true" ma:fieldsID="ea435cd7de915075703055505479c9a3" ns3:_="">
    <xsd:import namespace="c805d591-5adc-479f-b430-a504985d0a6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05d591-5adc-479f-b430-a504985d0a6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6CF157E-3F7B-4EEF-B49E-DE92FFA8345A}">
  <ds:schemaRefs>
    <ds:schemaRef ds:uri="http://schemas.microsoft.com/office/2006/metadata/properties"/>
    <ds:schemaRef ds:uri="http://www.w3.org/XML/1998/namespace"/>
    <ds:schemaRef ds:uri="c805d591-5adc-479f-b430-a504985d0a67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A7CF43E2-8B46-4643-AE26-D35AF46AC8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05d591-5adc-479f-b430-a504985d0a6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4B659FD-49ED-4BEE-BACD-E58B883C9F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67</TotalTime>
  <Words>272</Words>
  <Application>Microsoft Office PowerPoint</Application>
  <PresentationFormat>Widescreen</PresentationFormat>
  <Paragraphs>82</Paragraphs>
  <Slides>57</Slides>
  <Notes>0</Notes>
  <HiddenSlides>38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61" baseType="lpstr">
      <vt:lpstr>Arial</vt:lpstr>
      <vt:lpstr>Calibri</vt:lpstr>
      <vt:lpstr>Calibri Light</vt:lpstr>
      <vt:lpstr>Office Theme</vt:lpstr>
      <vt:lpstr>Participatory Governance Survey 2020-2021</vt:lpstr>
      <vt:lpstr>Response rate</vt:lpstr>
      <vt:lpstr>Survey Question Scale</vt:lpstr>
      <vt:lpstr>Respondent Constituency</vt:lpstr>
      <vt:lpstr>Overall Information on Meetings</vt:lpstr>
      <vt:lpstr>PowerPoint Presentation</vt:lpstr>
      <vt:lpstr>Information on Meetings</vt:lpstr>
      <vt:lpstr>Information on Meet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all Comfort with Recording</vt:lpstr>
      <vt:lpstr>PowerPoint Presentation</vt:lpstr>
      <vt:lpstr>Comfort with Recording</vt:lpstr>
      <vt:lpstr>Comfort with Record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neral Participatory Governance</vt:lpstr>
      <vt:lpstr>PowerPoint Presentation</vt:lpstr>
      <vt:lpstr>PowerPoint Presentation</vt:lpstr>
      <vt:lpstr>Overall Participatory Governance</vt:lpstr>
      <vt:lpstr>PowerPoint Presentation</vt:lpstr>
      <vt:lpstr>Program Review Overall</vt:lpstr>
      <vt:lpstr>PowerPoint Presentation</vt:lpstr>
      <vt:lpstr>Program Review detail</vt:lpstr>
      <vt:lpstr>PowerPoint Presentation</vt:lpstr>
      <vt:lpstr>PowerPoint Presentation</vt:lpstr>
      <vt:lpstr>PowerPoint Presentation</vt:lpstr>
      <vt:lpstr>PowerPoint Presentation</vt:lpstr>
      <vt:lpstr>Budget</vt:lpstr>
      <vt:lpstr>PowerPoint Presentation</vt:lpstr>
      <vt:lpstr>PowerPoint Presentation</vt:lpstr>
      <vt:lpstr>PowerPoint Presentation</vt:lpstr>
      <vt:lpstr>College Goals</vt:lpstr>
      <vt:lpstr>PowerPoint Presentation</vt:lpstr>
      <vt:lpstr>Planning</vt:lpstr>
      <vt:lpstr>PowerPoint Presentation</vt:lpstr>
      <vt:lpstr>PowerPoint Presentation</vt:lpstr>
      <vt:lpstr>PowerPoint Presentation</vt:lpstr>
      <vt:lpstr>Overall District Procedures</vt:lpstr>
      <vt:lpstr>PowerPoint Presentation</vt:lpstr>
      <vt:lpstr>District Procedures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icipatory Governance Survey 2019-2020</dc:title>
  <dc:creator>Claxton, Alexander</dc:creator>
  <cp:lastModifiedBy>Claxton, Alexander</cp:lastModifiedBy>
  <cp:revision>20</cp:revision>
  <dcterms:created xsi:type="dcterms:W3CDTF">2021-04-14T17:20:53Z</dcterms:created>
  <dcterms:modified xsi:type="dcterms:W3CDTF">2021-05-04T18:19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9277844F7A8C478CA68C2A9601237C</vt:lpwstr>
  </property>
</Properties>
</file>